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autoCompressPictures="0">
  <p:sldMasterIdLst>
    <p:sldMasterId id="2147483669" r:id="rId7"/>
  </p:sldMasterIdLst>
  <p:notesMasterIdLst>
    <p:notesMasterId r:id="rId16"/>
  </p:notesMasterIdLst>
  <p:handoutMasterIdLst>
    <p:handoutMasterId r:id="rId17"/>
  </p:handoutMasterIdLst>
  <p:sldIdLst>
    <p:sldId id="902" r:id="rId8"/>
    <p:sldId id="994" r:id="rId9"/>
    <p:sldId id="1005" r:id="rId10"/>
    <p:sldId id="1004" r:id="rId11"/>
    <p:sldId id="976" r:id="rId12"/>
    <p:sldId id="974" r:id="rId13"/>
    <p:sldId id="977" r:id="rId14"/>
    <p:sldId id="1010" r:id="rId15"/>
  </p:sldIdLst>
  <p:sldSz cx="12198350" cy="6858000"/>
  <p:notesSz cx="7102475" cy="10234613"/>
  <p:custDataLst>
    <p:custData r:id="rId5"/>
    <p:tags r:id="rId18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  <p15:guide id="12" orient="horz" pos="3906">
          <p15:clr>
            <a:srgbClr val="A4A3A4"/>
          </p15:clr>
        </p15:guide>
        <p15:guide id="13" orient="horz" pos="1888">
          <p15:clr>
            <a:srgbClr val="A4A3A4"/>
          </p15:clr>
        </p15:guide>
        <p15:guide id="14" orient="horz" pos="2478">
          <p15:clr>
            <a:srgbClr val="A4A3A4"/>
          </p15:clr>
        </p15:guide>
        <p15:guide id="15" orient="horz" pos="2387">
          <p15:clr>
            <a:srgbClr val="A4A3A4"/>
          </p15:clr>
        </p15:guide>
        <p15:guide id="16" orient="horz" pos="1083">
          <p15:clr>
            <a:srgbClr val="A4A3A4"/>
          </p15:clr>
        </p15:guide>
        <p15:guide id="17" pos="418">
          <p15:clr>
            <a:srgbClr val="A4A3A4"/>
          </p15:clr>
        </p15:guide>
        <p15:guide id="18" pos="4172">
          <p15:clr>
            <a:srgbClr val="A4A3A4"/>
          </p15:clr>
        </p15:guide>
        <p15:guide id="19" pos="392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FE"/>
    <a:srgbClr val="FEFFFE"/>
    <a:srgbClr val="FEFEFE"/>
    <a:srgbClr val="FEFEFD"/>
    <a:srgbClr val="FEFDFD"/>
    <a:srgbClr val="FDFEFD"/>
    <a:srgbClr val="FDFDFD"/>
    <a:srgbClr val="FDFDFC"/>
    <a:srgbClr val="00FFFE"/>
    <a:srgbClr val="FFFF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19" autoAdjust="0"/>
    <p:restoredTop sz="94608" autoAdjust="0"/>
  </p:normalViewPr>
  <p:slideViewPr>
    <p:cSldViewPr snapToGrid="0" snapToObjects="1" showGuides="1">
      <p:cViewPr varScale="1">
        <p:scale>
          <a:sx n="86" d="100"/>
          <a:sy n="86" d="100"/>
        </p:scale>
        <p:origin x="480" y="72"/>
      </p:cViewPr>
      <p:guideLst>
        <p:guide orient="horz" pos="3884"/>
        <p:guide orient="horz" pos="618"/>
        <p:guide orient="horz" pos="2432"/>
        <p:guide orient="horz" pos="2341"/>
        <p:guide orient="horz" pos="890"/>
        <p:guide orient="horz" pos="210"/>
        <p:guide pos="395"/>
        <p:guide pos="3842"/>
        <p:guide pos="3933"/>
        <p:guide pos="7380"/>
        <p:guide pos="5566"/>
        <p:guide orient="horz" pos="3906"/>
        <p:guide orient="horz" pos="1888"/>
        <p:guide orient="horz" pos="2478"/>
        <p:guide orient="horz" pos="2387"/>
        <p:guide orient="horz" pos="1083"/>
        <p:guide pos="418"/>
        <p:guide pos="4172"/>
        <p:guide pos="3926"/>
      </p:guideLst>
    </p:cSldViewPr>
  </p:slideViewPr>
  <p:outlineViewPr>
    <p:cViewPr>
      <p:scale>
        <a:sx n="33" d="100"/>
        <a:sy n="33" d="100"/>
      </p:scale>
      <p:origin x="0" y="47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2508"/>
    </p:cViewPr>
  </p:sorterViewPr>
  <p:notesViewPr>
    <p:cSldViewPr snapToGrid="0"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102475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410" y="0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682163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410" y="9682163"/>
            <a:ext cx="325106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3251066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410" y="0"/>
            <a:ext cx="3249478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9700" y="768350"/>
            <a:ext cx="6824663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232" y="4822825"/>
            <a:ext cx="6626012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682163"/>
            <a:ext cx="3251066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410" y="9682163"/>
            <a:ext cx="3249478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0.xml"/><Relationship Id="rId7" Type="http://schemas.openxmlformats.org/officeDocument/2006/relationships/oleObject" Target="../embeddings/oleObject2.bin"/><Relationship Id="rId2" Type="http://schemas.openxmlformats.org/officeDocument/2006/relationships/tags" Target="../tags/tag29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2.xml"/><Relationship Id="rId10" Type="http://schemas.openxmlformats.org/officeDocument/2006/relationships/image" Target="../media/image3.png"/><Relationship Id="rId4" Type="http://schemas.openxmlformats.org/officeDocument/2006/relationships/tags" Target="../tags/tag31.xml"/><Relationship Id="rId9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5.xml"/><Relationship Id="rId7" Type="http://schemas.openxmlformats.org/officeDocument/2006/relationships/oleObject" Target="../embeddings/oleObject3.bin"/><Relationship Id="rId2" Type="http://schemas.openxmlformats.org/officeDocument/2006/relationships/customXml" Target="../../customXml/item3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customXml" Target="../../customXml/item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4883427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3" name="think-cell Folie" r:id="rId7" imgW="180" imgH="180" progId="">
                  <p:embed/>
                </p:oleObj>
              </mc:Choice>
              <mc:Fallback>
                <p:oleObj name="think-cell Folie" r:id="rId7" imgW="180" imgH="180" progId="">
                  <p:embed/>
                  <p:pic>
                    <p:nvPicPr>
                      <p:cNvPr id="0" name="Picture 1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4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2" name="Gruppieren 3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3" name="Gerade Verbindung 3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123228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3" name="Gerade Verbindung 62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4" name="Gerade Verbindung 63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5" name="Gerade Verbindung 64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6" name="Gerade Verbindung 65"/>
            <p:cNvCxnSpPr/>
            <p:nvPr userDrawn="1"/>
          </p:nvCxnSpPr>
          <p:spPr bwMode="auto">
            <a:xfrm rot="5400000">
              <a:off x="123228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7" name="Gerade Verbindung 66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8" name="Gerade Verbindung 67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-126000" y="94822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-126000" y="6109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29" name="Grafik 2">
            <a:extLst>
              <a:ext uri="{FF2B5EF4-FFF2-40B4-BE49-F238E27FC236}">
                <a16:creationId xmlns:a16="http://schemas.microsoft.com/office/drawing/2014/main" id="{0809336B-C576-439E-AE0D-811C0E220F1C}"/>
              </a:ext>
            </a:extLst>
          </p:cNvPr>
          <p:cNvPicPr/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3167" y="79009"/>
            <a:ext cx="2258193" cy="814806"/>
          </a:xfrm>
          <a:prstGeom prst="rect">
            <a:avLst/>
          </a:prstGeom>
          <a:noFill/>
          <a:ln>
            <a:noFill/>
          </a:ln>
        </p:spPr>
      </p:pic>
      <p:pic>
        <p:nvPicPr>
          <p:cNvPr id="31" name="Picture 3">
            <a:extLst>
              <a:ext uri="{FF2B5EF4-FFF2-40B4-BE49-F238E27FC236}">
                <a16:creationId xmlns:a16="http://schemas.microsoft.com/office/drawing/2014/main" id="{FF5FD098-07B0-4C65-BAD7-8DDA77E32F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auto">
          <a:xfrm>
            <a:off x="8867726" y="76889"/>
            <a:ext cx="833913" cy="81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176" y="0"/>
            <a:ext cx="8726938" cy="1268413"/>
          </a:xfrm>
        </p:spPr>
        <p:txBody>
          <a:bodyPr tIns="360000" rIns="0" bIns="360000"/>
          <a:lstStyle>
            <a:lvl1pPr>
              <a:tabLst/>
              <a:defRPr/>
            </a:lvl1pPr>
          </a:lstStyle>
          <a:p>
            <a:r>
              <a:rPr lang="de-DE" dirty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2"/>
            </p:custDataLst>
          </p:nvPr>
        </p:nvSpPr>
        <p:spPr bwMode="auto">
          <a:xfrm>
            <a:off x="4658996" y="1557337"/>
            <a:ext cx="7539354" cy="4643437"/>
          </a:xfrm>
          <a:solidFill>
            <a:srgbClr val="DFE6ED"/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/>
              <a:t>Click to edit the toc/contact</a:t>
            </a:r>
          </a:p>
          <a:p>
            <a:pPr lvl="1"/>
            <a:r>
              <a:rPr lang="en-US" dirty="0"/>
              <a:t>chapter</a:t>
            </a:r>
          </a:p>
          <a:p>
            <a:pPr lvl="2"/>
            <a:r>
              <a:rPr lang="en-US" dirty="0"/>
              <a:t>active chapter</a:t>
            </a:r>
          </a:p>
          <a:p>
            <a:pPr lvl="3"/>
            <a:r>
              <a:rPr lang="en-US" dirty="0"/>
              <a:t>subchapter</a:t>
            </a:r>
          </a:p>
          <a:p>
            <a:pPr lvl="4"/>
            <a:r>
              <a:rPr lang="en-US" dirty="0"/>
              <a:t>active subchapter</a:t>
            </a:r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557337"/>
            <a:ext cx="4514400" cy="4643437"/>
          </a:xfrm>
        </p:spPr>
        <p:txBody>
          <a:bodyPr tIns="1800000"/>
          <a:lstStyle>
            <a:lvl1pPr algn="ctr">
              <a:defRPr/>
            </a:lvl1pPr>
          </a:lstStyle>
          <a:p>
            <a:r>
              <a:rPr lang="de-DE"/>
              <a:t>Bild durch Klicken auf Symbol hinzufügen</a:t>
            </a:r>
            <a:endParaRPr lang="fr-FR"/>
          </a:p>
        </p:txBody>
      </p:sp>
      <p:pic>
        <p:nvPicPr>
          <p:cNvPr id="9" name="Grafik 2">
            <a:extLst>
              <a:ext uri="{FF2B5EF4-FFF2-40B4-BE49-F238E27FC236}">
                <a16:creationId xmlns:a16="http://schemas.microsoft.com/office/drawing/2014/main" id="{7E4FC9C3-2FDF-4961-A49B-70243D366776}"/>
              </a:ext>
            </a:extLst>
          </p:cNvPr>
          <p:cNvPicPr/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3167" y="79009"/>
            <a:ext cx="2258193" cy="814806"/>
          </a:xfrm>
          <a:prstGeom prst="rect">
            <a:avLst/>
          </a:prstGeom>
          <a:noFill/>
          <a:ln>
            <a:noFill/>
          </a:ln>
        </p:spPr>
      </p:pic>
      <p:pic>
        <p:nvPicPr>
          <p:cNvPr id="10" name="Picture 3">
            <a:extLst>
              <a:ext uri="{FF2B5EF4-FFF2-40B4-BE49-F238E27FC236}">
                <a16:creationId xmlns:a16="http://schemas.microsoft.com/office/drawing/2014/main" id="{22CC5059-A4D9-48B8-BB45-BB6B5F3D68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/>
          <a:srcRect/>
          <a:stretch>
            <a:fillRect/>
          </a:stretch>
        </p:blipFill>
        <p:spPr bwMode="auto">
          <a:xfrm>
            <a:off x="8867726" y="76889"/>
            <a:ext cx="833913" cy="81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type="titleOnly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Folie" r:id="rId7" imgW="180" imgH="180" progId="">
                  <p:embed/>
                </p:oleObj>
              </mc:Choice>
              <mc:Fallback>
                <p:oleObj name="think-cell Folie" r:id="rId7" imgW="180" imgH="180" progId="">
                  <p:embed/>
                  <p:pic>
                    <p:nvPicPr>
                      <p:cNvPr id="3" name="Objek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cdtTitle 1 Id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0" y="0"/>
            <a:ext cx="12198350" cy="126841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de-DE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de-DE"/>
              <a:t>Titelmasterformat durch Klicken bearbeiten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custDataLst>
      <p:custData r:id="rId2"/>
      <p:tags r:id="rId3"/>
    </p:custDataLst>
    <p:extLst>
      <p:ext uri="{BB962C8B-B14F-4D97-AF65-F5344CB8AC3E}">
        <p14:creationId xmlns:p14="http://schemas.microsoft.com/office/powerpoint/2010/main" val="22858017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dtTitle 1 Id2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12198350" cy="1268413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3"/>
            </p:custDataLst>
          </p:nvPr>
        </p:nvSpPr>
        <p:spPr>
          <a:xfrm>
            <a:off x="627063" y="1557337"/>
            <a:ext cx="360045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4"/>
            </p:custDataLst>
          </p:nvPr>
        </p:nvSpPr>
        <p:spPr>
          <a:xfrm>
            <a:off x="4370388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5"/>
            </p:custDataLst>
          </p:nvPr>
        </p:nvSpPr>
        <p:spPr>
          <a:xfrm>
            <a:off x="8115750" y="1557337"/>
            <a:ext cx="3600000" cy="4643437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kumimoji="0" lang="en-US" sz="1800" b="0" i="0" u="none" strike="noStrike" kern="0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defRPr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 smtClean="0"/>
            </a:lvl5pPr>
          </a:lstStyle>
          <a:p>
            <a:pPr lvl="0"/>
            <a:r>
              <a:rPr lang="de-DE"/>
              <a:t>Textmasterformate durch Klicken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4368526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26" Type="http://schemas.openxmlformats.org/officeDocument/2006/relationships/tags" Target="../tags/tag21.xml"/><Relationship Id="rId21" Type="http://schemas.openxmlformats.org/officeDocument/2006/relationships/tags" Target="../tags/tag16.xml"/><Relationship Id="rId34" Type="http://schemas.openxmlformats.org/officeDocument/2006/relationships/oleObject" Target="../embeddings/oleObject1.bin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5" Type="http://schemas.openxmlformats.org/officeDocument/2006/relationships/tags" Target="../tags/tag20.xml"/><Relationship Id="rId33" Type="http://schemas.openxmlformats.org/officeDocument/2006/relationships/tags" Target="../tags/tag28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29" Type="http://schemas.openxmlformats.org/officeDocument/2006/relationships/tags" Target="../tags/tag24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tags" Target="../tags/tag6.xml"/><Relationship Id="rId24" Type="http://schemas.openxmlformats.org/officeDocument/2006/relationships/tags" Target="../tags/tag19.xml"/><Relationship Id="rId32" Type="http://schemas.openxmlformats.org/officeDocument/2006/relationships/tags" Target="../tags/tag27.xml"/><Relationship Id="rId37" Type="http://schemas.openxmlformats.org/officeDocument/2006/relationships/image" Target="../media/image3.png"/><Relationship Id="rId5" Type="http://schemas.openxmlformats.org/officeDocument/2006/relationships/theme" Target="../theme/theme1.xml"/><Relationship Id="rId15" Type="http://schemas.openxmlformats.org/officeDocument/2006/relationships/tags" Target="../tags/tag10.xml"/><Relationship Id="rId23" Type="http://schemas.openxmlformats.org/officeDocument/2006/relationships/tags" Target="../tags/tag18.xml"/><Relationship Id="rId28" Type="http://schemas.openxmlformats.org/officeDocument/2006/relationships/tags" Target="../tags/tag23.xml"/><Relationship Id="rId36" Type="http://schemas.openxmlformats.org/officeDocument/2006/relationships/image" Target="../media/image2.png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31" Type="http://schemas.openxmlformats.org/officeDocument/2006/relationships/tags" Target="../tags/tag26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tags" Target="../tags/tag17.xml"/><Relationship Id="rId27" Type="http://schemas.openxmlformats.org/officeDocument/2006/relationships/tags" Target="../tags/tag22.xml"/><Relationship Id="rId30" Type="http://schemas.openxmlformats.org/officeDocument/2006/relationships/tags" Target="../tags/tag25.xml"/><Relationship Id="rId35" Type="http://schemas.openxmlformats.org/officeDocument/2006/relationships/image" Target="../media/image1.emf"/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960532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8" name="think-cell Folie" r:id="rId34" imgW="180" imgH="180" progId="">
                  <p:embed/>
                </p:oleObj>
              </mc:Choice>
              <mc:Fallback>
                <p:oleObj name="think-cell Folie" r:id="rId34" imgW="180" imgH="180" progId="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3176" y="0"/>
            <a:ext cx="8832850" cy="1268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1240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itelmasterformat</a:t>
            </a:r>
            <a:r>
              <a:rPr lang="en-US" noProof="0" dirty="0"/>
              <a:t> </a:t>
            </a:r>
            <a:r>
              <a:rPr lang="en-US" noProof="0" dirty="0" err="1"/>
              <a:t>durch</a:t>
            </a:r>
            <a:r>
              <a:rPr lang="en-US" noProof="0" dirty="0"/>
              <a:t> </a:t>
            </a:r>
            <a:r>
              <a:rPr lang="en-US" noProof="0" dirty="0" err="1"/>
              <a:t>Klicken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10"/>
            </p:custDataLst>
          </p:nvPr>
        </p:nvSpPr>
        <p:spPr bwMode="auto">
          <a:xfrm>
            <a:off x="627063" y="1555199"/>
            <a:ext cx="8208962" cy="4645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err="1"/>
              <a:t>Textmasterformat</a:t>
            </a:r>
            <a:r>
              <a:rPr lang="en-US" noProof="0" dirty="0"/>
              <a:t> </a:t>
            </a:r>
            <a:r>
              <a:rPr lang="en-US" noProof="0" dirty="0" err="1"/>
              <a:t>bearbeiten</a:t>
            </a:r>
            <a:endParaRPr lang="en-US" noProof="0" dirty="0"/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1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1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1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1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1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1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1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1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1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2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2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2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2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2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2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2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2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2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2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3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3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3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" name="Gruppieren 3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3" name="Gerade Verbindung 2"/>
            <p:cNvCxnSpPr/>
            <p:nvPr userDrawn="1"/>
          </p:nvCxnSpPr>
          <p:spPr bwMode="auto">
            <a:xfrm>
              <a:off x="627063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7" name="Gerade Verbindung 36"/>
            <p:cNvCxnSpPr/>
            <p:nvPr userDrawn="1"/>
          </p:nvCxnSpPr>
          <p:spPr bwMode="auto">
            <a:xfrm>
              <a:off x="62420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8" name="Gerade Verbindung 37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9" name="Gerade Verbindung 38"/>
            <p:cNvCxnSpPr/>
            <p:nvPr userDrawn="1"/>
          </p:nvCxnSpPr>
          <p:spPr bwMode="auto">
            <a:xfrm>
              <a:off x="11715750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0" name="Gerade Verbindung 39"/>
            <p:cNvCxnSpPr/>
            <p:nvPr userDrawn="1"/>
          </p:nvCxnSpPr>
          <p:spPr bwMode="auto">
            <a:xfrm rot="5400000">
              <a:off x="123228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Gerade Verbindung 40"/>
            <p:cNvCxnSpPr/>
            <p:nvPr userDrawn="1"/>
          </p:nvCxnSpPr>
          <p:spPr bwMode="auto">
            <a:xfrm rot="5400000">
              <a:off x="12322800" y="945844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2" name="Gerade Verbindung 41"/>
            <p:cNvCxnSpPr/>
            <p:nvPr userDrawn="1"/>
          </p:nvCxnSpPr>
          <p:spPr bwMode="auto">
            <a:xfrm rot="5400000">
              <a:off x="123228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3" name="Gerade Verbindung 42"/>
            <p:cNvCxnSpPr/>
            <p:nvPr userDrawn="1"/>
          </p:nvCxnSpPr>
          <p:spPr bwMode="auto">
            <a:xfrm rot="5400000">
              <a:off x="123228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4" name="Gerade Verbindung 43"/>
            <p:cNvCxnSpPr/>
            <p:nvPr userDrawn="1"/>
          </p:nvCxnSpPr>
          <p:spPr bwMode="auto">
            <a:xfrm rot="5400000">
              <a:off x="123228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5" name="Gerade Verbindung 44"/>
            <p:cNvCxnSpPr/>
            <p:nvPr userDrawn="1"/>
          </p:nvCxnSpPr>
          <p:spPr bwMode="auto">
            <a:xfrm rot="5400000">
              <a:off x="123228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2" name="Gerade Verbindung 51"/>
            <p:cNvCxnSpPr/>
            <p:nvPr userDrawn="1"/>
          </p:nvCxnSpPr>
          <p:spPr bwMode="auto">
            <a:xfrm>
              <a:off x="627063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3" name="Gerade Verbindung 5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4" name="Gerade Verbindung 53"/>
            <p:cNvCxnSpPr/>
            <p:nvPr userDrawn="1"/>
          </p:nvCxnSpPr>
          <p:spPr bwMode="auto">
            <a:xfrm>
              <a:off x="62420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5" name="Gerade Verbindung 5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6" name="Gerade Verbindung 55"/>
            <p:cNvCxnSpPr/>
            <p:nvPr userDrawn="1"/>
          </p:nvCxnSpPr>
          <p:spPr bwMode="auto">
            <a:xfrm>
              <a:off x="11715750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7" name="Gerade Verbindung 56"/>
            <p:cNvCxnSpPr/>
            <p:nvPr userDrawn="1"/>
          </p:nvCxnSpPr>
          <p:spPr bwMode="auto">
            <a:xfrm rot="5400000">
              <a:off x="-126000" y="242887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8" name="Gerade Verbindung 57"/>
            <p:cNvCxnSpPr/>
            <p:nvPr userDrawn="1"/>
          </p:nvCxnSpPr>
          <p:spPr bwMode="auto">
            <a:xfrm rot="5400000">
              <a:off x="-126000" y="9468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9" name="Gerade Verbindung 58"/>
            <p:cNvCxnSpPr/>
            <p:nvPr userDrawn="1"/>
          </p:nvCxnSpPr>
          <p:spPr bwMode="auto">
            <a:xfrm rot="5400000">
              <a:off x="-126000" y="1465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 userDrawn="1"/>
          </p:nvCxnSpPr>
          <p:spPr bwMode="auto">
            <a:xfrm rot="5400000">
              <a:off x="-126000" y="36972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1" name="Gerade Verbindung 60"/>
            <p:cNvCxnSpPr/>
            <p:nvPr userDrawn="1"/>
          </p:nvCxnSpPr>
          <p:spPr bwMode="auto">
            <a:xfrm rot="5400000">
              <a:off x="-126000" y="38376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2" name="Gerade Verbindung 61"/>
            <p:cNvCxnSpPr/>
            <p:nvPr userDrawn="1"/>
          </p:nvCxnSpPr>
          <p:spPr bwMode="auto">
            <a:xfrm rot="5400000">
              <a:off x="-126000" y="61101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66" name="Grafik 2">
            <a:extLst>
              <a:ext uri="{FF2B5EF4-FFF2-40B4-BE49-F238E27FC236}">
                <a16:creationId xmlns:a16="http://schemas.microsoft.com/office/drawing/2014/main" id="{39B276DD-452A-4AFD-AA14-DDC35B644C4D}"/>
              </a:ext>
            </a:extLst>
          </p:cNvPr>
          <p:cNvPicPr/>
          <p:nvPr userDrawn="1"/>
        </p:nvPicPr>
        <p:blipFill>
          <a:blip r:embed="rId3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53167" y="79009"/>
            <a:ext cx="2258193" cy="814806"/>
          </a:xfrm>
          <a:prstGeom prst="rect">
            <a:avLst/>
          </a:prstGeom>
          <a:noFill/>
          <a:ln>
            <a:noFill/>
          </a:ln>
        </p:spPr>
      </p:pic>
      <p:pic>
        <p:nvPicPr>
          <p:cNvPr id="67" name="Picture 3">
            <a:extLst>
              <a:ext uri="{FF2B5EF4-FFF2-40B4-BE49-F238E27FC236}">
                <a16:creationId xmlns:a16="http://schemas.microsoft.com/office/drawing/2014/main" id="{03D9C187-A104-4934-BAF9-7ED7083C556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7"/>
          <a:srcRect/>
          <a:stretch>
            <a:fillRect/>
          </a:stretch>
        </p:blipFill>
        <p:spPr bwMode="auto">
          <a:xfrm>
            <a:off x="8867726" y="76889"/>
            <a:ext cx="833913" cy="8169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custDataLst>
      <p:tags r:id="rId7"/>
    </p:custData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3" r:id="rId2"/>
    <p:sldLayoutId id="2147483704" r:id="rId3"/>
    <p:sldLayoutId id="2147483705" r:id="rId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eaLnBrk="1" fontAlgn="base" hangingPunct="1">
        <a:lnSpc>
          <a:spcPct val="100000"/>
        </a:lnSpc>
        <a:spcBef>
          <a:spcPts val="30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2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tags" Target="../tags/tag55.xml"/><Relationship Id="rId5" Type="http://schemas.openxmlformats.org/officeDocument/2006/relationships/tags" Target="../tags/tag54.xml"/><Relationship Id="rId4" Type="http://schemas.openxmlformats.org/officeDocument/2006/relationships/tags" Target="../tags/tag5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3.png"/><Relationship Id="rId18" Type="http://schemas.openxmlformats.org/officeDocument/2006/relationships/image" Target="../media/image28.png"/><Relationship Id="rId3" Type="http://schemas.openxmlformats.org/officeDocument/2006/relationships/image" Target="../media/image13.png"/><Relationship Id="rId21" Type="http://schemas.openxmlformats.org/officeDocument/2006/relationships/image" Target="../media/image31.png"/><Relationship Id="rId7" Type="http://schemas.openxmlformats.org/officeDocument/2006/relationships/image" Target="../media/image17.png"/><Relationship Id="rId12" Type="http://schemas.openxmlformats.org/officeDocument/2006/relationships/image" Target="../media/image22.png"/><Relationship Id="rId17" Type="http://schemas.openxmlformats.org/officeDocument/2006/relationships/image" Target="../media/image27.png"/><Relationship Id="rId2" Type="http://schemas.openxmlformats.org/officeDocument/2006/relationships/image" Target="../media/image12.jpeg"/><Relationship Id="rId16" Type="http://schemas.openxmlformats.org/officeDocument/2006/relationships/image" Target="../media/image26.png"/><Relationship Id="rId20" Type="http://schemas.openxmlformats.org/officeDocument/2006/relationships/image" Target="../media/image3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6.png"/><Relationship Id="rId11" Type="http://schemas.openxmlformats.org/officeDocument/2006/relationships/image" Target="../media/image21.png"/><Relationship Id="rId5" Type="http://schemas.openxmlformats.org/officeDocument/2006/relationships/image" Target="../media/image15.png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29.png"/><Relationship Id="rId4" Type="http://schemas.openxmlformats.org/officeDocument/2006/relationships/image" Target="../media/image14.png"/><Relationship Id="rId9" Type="http://schemas.openxmlformats.org/officeDocument/2006/relationships/image" Target="../media/image19.png"/><Relationship Id="rId1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580975" y="2843295"/>
            <a:ext cx="7044474" cy="3448309"/>
          </a:xfrm>
        </p:spPr>
        <p:txBody>
          <a:bodyPr/>
          <a:lstStyle/>
          <a:p>
            <a:pPr>
              <a:spcAft>
                <a:spcPts val="2200"/>
              </a:spcAft>
            </a:pPr>
            <a:r>
              <a:rPr lang="en-US" sz="4800" dirty="0">
                <a:solidFill>
                  <a:schemeClr val="accent1">
                    <a:lumMod val="50000"/>
                  </a:schemeClr>
                </a:solidFill>
                <a:latin typeface="Calibri" panose="020F0502020204030204" pitchFamily="34" charset="0"/>
                <a:ea typeface="ＭＳ Ｐゴシック" charset="0"/>
                <a:cs typeface="Candara" charset="0"/>
              </a:rPr>
              <a:t>Standards – an enabler for holistic system design and industrial integration</a:t>
            </a: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br>
              <a:rPr lang="en-US" dirty="0">
                <a:latin typeface="Calibri" panose="020F0502020204030204" pitchFamily="34" charset="0"/>
                <a:ea typeface="ＭＳ Ｐゴシック" charset="0"/>
                <a:cs typeface="Candara" charset="0"/>
              </a:rPr>
            </a:br>
            <a:r>
              <a:rPr lang="en-US" sz="1600" dirty="0"/>
              <a:t>Markus Reigl </a:t>
            </a:r>
            <a:r>
              <a:rPr lang="en-US" sz="1200" dirty="0"/>
              <a:t>(Dipl.-Ing., M.A.)                         </a:t>
            </a:r>
            <a:r>
              <a:rPr lang="en-US" sz="1600" dirty="0"/>
              <a:t>Siemens AG, Munich, Germany</a:t>
            </a:r>
            <a:endParaRPr lang="en-US" sz="2200" b="0" noProof="0" dirty="0"/>
          </a:p>
        </p:txBody>
      </p:sp>
      <p:pic>
        <p:nvPicPr>
          <p:cNvPr id="8" name="Picture 2" descr="Bildergebnis fÃ¼r rspp russia">
            <a:extLst>
              <a:ext uri="{FF2B5EF4-FFF2-40B4-BE49-F238E27FC236}">
                <a16:creationId xmlns:a16="http://schemas.microsoft.com/office/drawing/2014/main" id="{B3B54704-4FAC-455D-B09C-D5AD55A682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13" y="576226"/>
            <a:ext cx="12673890" cy="1915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6C13C2EF-1290-4903-BA35-65E35709F1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25449" y="5005387"/>
            <a:ext cx="4420777" cy="141922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p:transition spd="slow">
    <p:fade thruBlk="1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rt-X </a:t>
            </a:r>
            <a:r>
              <a:rPr lang="en-GB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[ X = City, Grid, Building, Vehicle, Factory, …]</a:t>
            </a:r>
            <a:br>
              <a:rPr lang="en-GB" dirty="0"/>
            </a:br>
            <a:r>
              <a:rPr lang="en-US" dirty="0">
                <a:solidFill>
                  <a:srgbClr val="C00000"/>
                </a:solidFill>
              </a:rPr>
              <a:t>Merely connecting</a:t>
            </a:r>
            <a:r>
              <a:rPr lang="en-US" dirty="0"/>
              <a:t> domain specific IoT islands …</a:t>
            </a:r>
            <a:endParaRPr lang="en-GB" dirty="0"/>
          </a:p>
        </p:txBody>
      </p:sp>
      <p:sp>
        <p:nvSpPr>
          <p:cNvPr id="3" name="Rechteck 131">
            <a:extLst>
              <a:ext uri="{FF2B5EF4-FFF2-40B4-BE49-F238E27FC236}">
                <a16:creationId xmlns:a16="http://schemas.microsoft.com/office/drawing/2014/main" id="{8B0CDED0-4FF9-4812-8715-A7EA757C7795}"/>
              </a:ext>
            </a:extLst>
          </p:cNvPr>
          <p:cNvSpPr/>
          <p:nvPr/>
        </p:nvSpPr>
        <p:spPr bwMode="gray">
          <a:xfrm>
            <a:off x="16183" y="1360328"/>
            <a:ext cx="12198350" cy="491616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26400" tIns="504000" rIns="108000" bIns="54000" numCol="1" spcCol="72000" rtlCol="0" anchor="t">
            <a:no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</a:pPr>
            <a:endParaRPr lang="en-US" sz="2400" b="1" dirty="0">
              <a:solidFill>
                <a:srgbClr val="505A64"/>
              </a:solidFill>
            </a:endParaRPr>
          </a:p>
        </p:txBody>
      </p: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742B849-806C-47DF-AC80-B92D31197C6F}"/>
              </a:ext>
            </a:extLst>
          </p:cNvPr>
          <p:cNvGrpSpPr/>
          <p:nvPr/>
        </p:nvGrpSpPr>
        <p:grpSpPr>
          <a:xfrm>
            <a:off x="611301" y="1652809"/>
            <a:ext cx="4491305" cy="4195084"/>
            <a:chOff x="611301" y="1652809"/>
            <a:chExt cx="4491305" cy="4195084"/>
          </a:xfrm>
        </p:grpSpPr>
        <p:sp>
          <p:nvSpPr>
            <p:cNvPr id="41" name="AutoShape 40">
              <a:extLst>
                <a:ext uri="{FF2B5EF4-FFF2-40B4-BE49-F238E27FC236}">
                  <a16:creationId xmlns:a16="http://schemas.microsoft.com/office/drawing/2014/main" id="{D0C10D72-0FEF-4ACE-927A-0129639EC5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3480945" y="2934412"/>
              <a:ext cx="718218" cy="362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uppieren 260">
              <a:extLst>
                <a:ext uri="{FF2B5EF4-FFF2-40B4-BE49-F238E27FC236}">
                  <a16:creationId xmlns:a16="http://schemas.microsoft.com/office/drawing/2014/main" id="{5616DA2C-3258-43CB-9A41-D7902A4F52EE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 bwMode="gray">
            <a:xfrm flipH="1">
              <a:off x="627063" y="2150337"/>
              <a:ext cx="4425233" cy="3263454"/>
              <a:chOff x="7290517" y="2150337"/>
              <a:chExt cx="4425233" cy="3263454"/>
            </a:xfrm>
          </p:grpSpPr>
          <p:grpSp>
            <p:nvGrpSpPr>
              <p:cNvPr id="59" name="Gruppieren 261">
                <a:extLst>
                  <a:ext uri="{FF2B5EF4-FFF2-40B4-BE49-F238E27FC236}">
                    <a16:creationId xmlns:a16="http://schemas.microsoft.com/office/drawing/2014/main" id="{97112EB6-0F2F-4E48-ACEF-5C94D4F04FEE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 bwMode="gray">
              <a:xfrm>
                <a:off x="8243969" y="3103395"/>
                <a:ext cx="3471781" cy="1351766"/>
                <a:chOff x="8243969" y="3103395"/>
                <a:chExt cx="3528343" cy="1351766"/>
              </a:xfrm>
            </p:grpSpPr>
            <p:cxnSp>
              <p:nvCxnSpPr>
                <p:cNvPr id="63" name="Gerade Verbindung 265">
                  <a:extLst>
                    <a:ext uri="{FF2B5EF4-FFF2-40B4-BE49-F238E27FC236}">
                      <a16:creationId xmlns:a16="http://schemas.microsoft.com/office/drawing/2014/main" id="{AEEE5C0D-1729-4019-8755-7B0FB9D01BD9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3103395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4" name="Gerade Verbindung 266">
                  <a:extLst>
                    <a:ext uri="{FF2B5EF4-FFF2-40B4-BE49-F238E27FC236}">
                      <a16:creationId xmlns:a16="http://schemas.microsoft.com/office/drawing/2014/main" id="{98CDB665-7616-4E3B-8F8C-69FF0A8580C3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4455161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0" name="Gruppieren 262">
                <a:extLst>
                  <a:ext uri="{FF2B5EF4-FFF2-40B4-BE49-F238E27FC236}">
                    <a16:creationId xmlns:a16="http://schemas.microsoft.com/office/drawing/2014/main" id="{9B28470E-B46A-4E64-9A18-1FB00A33F361}"/>
                  </a:ext>
                </a:extLst>
              </p:cNvPr>
              <p:cNvGrpSpPr/>
              <p:nvPr>
                <p:custDataLst>
                  <p:tags r:id="rId7"/>
                </p:custDataLst>
              </p:nvPr>
            </p:nvGrpSpPr>
            <p:grpSpPr bwMode="gray">
              <a:xfrm>
                <a:off x="7290517" y="2150337"/>
                <a:ext cx="4425233" cy="3263454"/>
                <a:chOff x="7225157" y="2150337"/>
                <a:chExt cx="4490594" cy="3263454"/>
              </a:xfrm>
            </p:grpSpPr>
            <p:cxnSp>
              <p:nvCxnSpPr>
                <p:cNvPr id="61" name="Gerade Verbindung 263">
                  <a:extLst>
                    <a:ext uri="{FF2B5EF4-FFF2-40B4-BE49-F238E27FC236}">
                      <a16:creationId xmlns:a16="http://schemas.microsoft.com/office/drawing/2014/main" id="{BF6E6476-BFD6-474D-85B5-DBB9D7DD12A3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2150337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2" name="Gerade Verbindung 264">
                  <a:extLst>
                    <a:ext uri="{FF2B5EF4-FFF2-40B4-BE49-F238E27FC236}">
                      <a16:creationId xmlns:a16="http://schemas.microsoft.com/office/drawing/2014/main" id="{EBA000B1-49E5-4547-A6EB-F67936EA2339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5413791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43" name="Rechteck 78">
              <a:extLst>
                <a:ext uri="{FF2B5EF4-FFF2-40B4-BE49-F238E27FC236}">
                  <a16:creationId xmlns:a16="http://schemas.microsoft.com/office/drawing/2014/main" id="{F8ABA996-10CF-4AC2-89E5-562C95F9C2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301" y="506374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Power Management</a:t>
              </a:r>
            </a:p>
          </p:txBody>
        </p:sp>
        <p:sp>
          <p:nvSpPr>
            <p:cNvPr id="44" name="Freihandform 6">
              <a:extLst>
                <a:ext uri="{FF2B5EF4-FFF2-40B4-BE49-F238E27FC236}">
                  <a16:creationId xmlns:a16="http://schemas.microsoft.com/office/drawing/2014/main" id="{3E3A611D-CB14-4572-87FE-DB3ACBD41084}"/>
                </a:ext>
              </a:extLst>
            </p:cNvPr>
            <p:cNvSpPr/>
            <p:nvPr/>
          </p:nvSpPr>
          <p:spPr bwMode="gray">
            <a:xfrm rot="20239983">
              <a:off x="4202357" y="49476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45" name="Freihandform 26">
              <a:extLst>
                <a:ext uri="{FF2B5EF4-FFF2-40B4-BE49-F238E27FC236}">
                  <a16:creationId xmlns:a16="http://schemas.microsoft.com/office/drawing/2014/main" id="{D12B4764-47AF-4FD7-B391-91AD22F9D42B}"/>
                </a:ext>
              </a:extLst>
            </p:cNvPr>
            <p:cNvSpPr/>
            <p:nvPr/>
          </p:nvSpPr>
          <p:spPr bwMode="gray">
            <a:xfrm rot="20239983">
              <a:off x="3221707" y="3994577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46" name="Freeform 2821">
              <a:extLst>
                <a:ext uri="{FF2B5EF4-FFF2-40B4-BE49-F238E27FC236}">
                  <a16:creationId xmlns:a16="http://schemas.microsoft.com/office/drawing/2014/main" id="{7E4A1086-1B78-47D6-8950-6D03B9E65B9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83434" y="4152989"/>
              <a:ext cx="376793" cy="564404"/>
            </a:xfrm>
            <a:custGeom>
              <a:avLst/>
              <a:gdLst>
                <a:gd name="T0" fmla="*/ 341 w 534"/>
                <a:gd name="T1" fmla="*/ 627 h 800"/>
                <a:gd name="T2" fmla="*/ 341 w 534"/>
                <a:gd name="T3" fmla="*/ 563 h 800"/>
                <a:gd name="T4" fmla="*/ 306 w 534"/>
                <a:gd name="T5" fmla="*/ 528 h 800"/>
                <a:gd name="T6" fmla="*/ 256 w 534"/>
                <a:gd name="T7" fmla="*/ 528 h 800"/>
                <a:gd name="T8" fmla="*/ 256 w 534"/>
                <a:gd name="T9" fmla="*/ 450 h 800"/>
                <a:gd name="T10" fmla="*/ 380 w 534"/>
                <a:gd name="T11" fmla="*/ 450 h 800"/>
                <a:gd name="T12" fmla="*/ 380 w 534"/>
                <a:gd name="T13" fmla="*/ 627 h 800"/>
                <a:gd name="T14" fmla="*/ 341 w 534"/>
                <a:gd name="T15" fmla="*/ 627 h 800"/>
                <a:gd name="T16" fmla="*/ 471 w 534"/>
                <a:gd name="T17" fmla="*/ 0 h 800"/>
                <a:gd name="T18" fmla="*/ 471 w 534"/>
                <a:gd name="T19" fmla="*/ 324 h 800"/>
                <a:gd name="T20" fmla="*/ 314 w 534"/>
                <a:gd name="T21" fmla="*/ 230 h 800"/>
                <a:gd name="T22" fmla="*/ 314 w 534"/>
                <a:gd name="T23" fmla="*/ 324 h 800"/>
                <a:gd name="T24" fmla="*/ 157 w 534"/>
                <a:gd name="T25" fmla="*/ 230 h 800"/>
                <a:gd name="T26" fmla="*/ 157 w 534"/>
                <a:gd name="T27" fmla="*/ 324 h 800"/>
                <a:gd name="T28" fmla="*/ 0 w 534"/>
                <a:gd name="T29" fmla="*/ 230 h 800"/>
                <a:gd name="T30" fmla="*/ 0 w 534"/>
                <a:gd name="T31" fmla="*/ 627 h 800"/>
                <a:gd name="T32" fmla="*/ 328 w 534"/>
                <a:gd name="T33" fmla="*/ 627 h 800"/>
                <a:gd name="T34" fmla="*/ 328 w 534"/>
                <a:gd name="T35" fmla="*/ 563 h 800"/>
                <a:gd name="T36" fmla="*/ 306 w 534"/>
                <a:gd name="T37" fmla="*/ 541 h 800"/>
                <a:gd name="T38" fmla="*/ 151 w 534"/>
                <a:gd name="T39" fmla="*/ 541 h 800"/>
                <a:gd name="T40" fmla="*/ 151 w 534"/>
                <a:gd name="T41" fmla="*/ 552 h 800"/>
                <a:gd name="T42" fmla="*/ 116 w 534"/>
                <a:gd name="T43" fmla="*/ 552 h 800"/>
                <a:gd name="T44" fmla="*/ 116 w 534"/>
                <a:gd name="T45" fmla="*/ 517 h 800"/>
                <a:gd name="T46" fmla="*/ 151 w 534"/>
                <a:gd name="T47" fmla="*/ 517 h 800"/>
                <a:gd name="T48" fmla="*/ 151 w 534"/>
                <a:gd name="T49" fmla="*/ 528 h 800"/>
                <a:gd name="T50" fmla="*/ 249 w 534"/>
                <a:gd name="T51" fmla="*/ 528 h 800"/>
                <a:gd name="T52" fmla="*/ 249 w 534"/>
                <a:gd name="T53" fmla="*/ 443 h 800"/>
                <a:gd name="T54" fmla="*/ 380 w 534"/>
                <a:gd name="T55" fmla="*/ 443 h 800"/>
                <a:gd name="T56" fmla="*/ 380 w 534"/>
                <a:gd name="T57" fmla="*/ 418 h 800"/>
                <a:gd name="T58" fmla="*/ 409 w 534"/>
                <a:gd name="T59" fmla="*/ 389 h 800"/>
                <a:gd name="T60" fmla="*/ 433 w 534"/>
                <a:gd name="T61" fmla="*/ 389 h 800"/>
                <a:gd name="T62" fmla="*/ 433 w 534"/>
                <a:gd name="T63" fmla="*/ 378 h 800"/>
                <a:gd name="T64" fmla="*/ 468 w 534"/>
                <a:gd name="T65" fmla="*/ 378 h 800"/>
                <a:gd name="T66" fmla="*/ 468 w 534"/>
                <a:gd name="T67" fmla="*/ 413 h 800"/>
                <a:gd name="T68" fmla="*/ 433 w 534"/>
                <a:gd name="T69" fmla="*/ 413 h 800"/>
                <a:gd name="T70" fmla="*/ 433 w 534"/>
                <a:gd name="T71" fmla="*/ 402 h 800"/>
                <a:gd name="T72" fmla="*/ 409 w 534"/>
                <a:gd name="T73" fmla="*/ 402 h 800"/>
                <a:gd name="T74" fmla="*/ 393 w 534"/>
                <a:gd name="T75" fmla="*/ 418 h 800"/>
                <a:gd name="T76" fmla="*/ 393 w 534"/>
                <a:gd name="T77" fmla="*/ 627 h 800"/>
                <a:gd name="T78" fmla="*/ 534 w 534"/>
                <a:gd name="T79" fmla="*/ 627 h 800"/>
                <a:gd name="T80" fmla="*/ 534 w 534"/>
                <a:gd name="T81" fmla="*/ 0 h 800"/>
                <a:gd name="T82" fmla="*/ 471 w 534"/>
                <a:gd name="T83" fmla="*/ 0 h 800"/>
                <a:gd name="T84" fmla="*/ 341 w 534"/>
                <a:gd name="T85" fmla="*/ 627 h 800"/>
                <a:gd name="T86" fmla="*/ 328 w 534"/>
                <a:gd name="T87" fmla="*/ 627 h 800"/>
                <a:gd name="T88" fmla="*/ 328 w 534"/>
                <a:gd name="T89" fmla="*/ 726 h 800"/>
                <a:gd name="T90" fmla="*/ 0 w 534"/>
                <a:gd name="T91" fmla="*/ 726 h 800"/>
                <a:gd name="T92" fmla="*/ 0 w 534"/>
                <a:gd name="T93" fmla="*/ 739 h 800"/>
                <a:gd name="T94" fmla="*/ 341 w 534"/>
                <a:gd name="T95" fmla="*/ 739 h 800"/>
                <a:gd name="T96" fmla="*/ 341 w 534"/>
                <a:gd name="T97" fmla="*/ 627 h 800"/>
                <a:gd name="T98" fmla="*/ 380 w 534"/>
                <a:gd name="T99" fmla="*/ 627 h 800"/>
                <a:gd name="T100" fmla="*/ 380 w 534"/>
                <a:gd name="T101" fmla="*/ 751 h 800"/>
                <a:gd name="T102" fmla="*/ 342 w 534"/>
                <a:gd name="T103" fmla="*/ 787 h 800"/>
                <a:gd name="T104" fmla="*/ 0 w 534"/>
                <a:gd name="T105" fmla="*/ 787 h 800"/>
                <a:gd name="T106" fmla="*/ 0 w 534"/>
                <a:gd name="T107" fmla="*/ 800 h 800"/>
                <a:gd name="T108" fmla="*/ 342 w 534"/>
                <a:gd name="T109" fmla="*/ 800 h 800"/>
                <a:gd name="T110" fmla="*/ 393 w 534"/>
                <a:gd name="T111" fmla="*/ 751 h 800"/>
                <a:gd name="T112" fmla="*/ 393 w 534"/>
                <a:gd name="T113" fmla="*/ 627 h 800"/>
                <a:gd name="T114" fmla="*/ 380 w 534"/>
                <a:gd name="T115" fmla="*/ 62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4" h="800">
                  <a:moveTo>
                    <a:pt x="341" y="627"/>
                  </a:moveTo>
                  <a:cubicBezTo>
                    <a:pt x="341" y="563"/>
                    <a:pt x="341" y="563"/>
                    <a:pt x="341" y="563"/>
                  </a:cubicBezTo>
                  <a:cubicBezTo>
                    <a:pt x="341" y="544"/>
                    <a:pt x="325" y="528"/>
                    <a:pt x="306" y="528"/>
                  </a:cubicBezTo>
                  <a:cubicBezTo>
                    <a:pt x="256" y="528"/>
                    <a:pt x="256" y="528"/>
                    <a:pt x="256" y="528"/>
                  </a:cubicBezTo>
                  <a:cubicBezTo>
                    <a:pt x="256" y="450"/>
                    <a:pt x="256" y="450"/>
                    <a:pt x="256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27"/>
                    <a:pt x="380" y="627"/>
                    <a:pt x="380" y="627"/>
                  </a:cubicBezTo>
                  <a:lnTo>
                    <a:pt x="341" y="627"/>
                  </a:lnTo>
                  <a:close/>
                  <a:moveTo>
                    <a:pt x="471" y="0"/>
                  </a:moveTo>
                  <a:cubicBezTo>
                    <a:pt x="471" y="324"/>
                    <a:pt x="471" y="324"/>
                    <a:pt x="471" y="324"/>
                  </a:cubicBezTo>
                  <a:cubicBezTo>
                    <a:pt x="314" y="230"/>
                    <a:pt x="314" y="230"/>
                    <a:pt x="314" y="230"/>
                  </a:cubicBezTo>
                  <a:cubicBezTo>
                    <a:pt x="314" y="324"/>
                    <a:pt x="314" y="324"/>
                    <a:pt x="314" y="324"/>
                  </a:cubicBezTo>
                  <a:cubicBezTo>
                    <a:pt x="157" y="230"/>
                    <a:pt x="157" y="230"/>
                    <a:pt x="157" y="230"/>
                  </a:cubicBezTo>
                  <a:cubicBezTo>
                    <a:pt x="157" y="324"/>
                    <a:pt x="157" y="324"/>
                    <a:pt x="157" y="324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328" y="627"/>
                    <a:pt x="328" y="627"/>
                    <a:pt x="328" y="627"/>
                  </a:cubicBezTo>
                  <a:cubicBezTo>
                    <a:pt x="328" y="563"/>
                    <a:pt x="328" y="563"/>
                    <a:pt x="328" y="563"/>
                  </a:cubicBezTo>
                  <a:cubicBezTo>
                    <a:pt x="328" y="551"/>
                    <a:pt x="318" y="541"/>
                    <a:pt x="306" y="541"/>
                  </a:cubicBezTo>
                  <a:cubicBezTo>
                    <a:pt x="151" y="541"/>
                    <a:pt x="151" y="541"/>
                    <a:pt x="151" y="541"/>
                  </a:cubicBezTo>
                  <a:cubicBezTo>
                    <a:pt x="151" y="552"/>
                    <a:pt x="151" y="552"/>
                    <a:pt x="151" y="552"/>
                  </a:cubicBezTo>
                  <a:cubicBezTo>
                    <a:pt x="116" y="552"/>
                    <a:pt x="116" y="552"/>
                    <a:pt x="116" y="552"/>
                  </a:cubicBezTo>
                  <a:cubicBezTo>
                    <a:pt x="116" y="517"/>
                    <a:pt x="116" y="517"/>
                    <a:pt x="116" y="517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28"/>
                    <a:pt x="151" y="528"/>
                    <a:pt x="151" y="528"/>
                  </a:cubicBezTo>
                  <a:cubicBezTo>
                    <a:pt x="249" y="528"/>
                    <a:pt x="249" y="528"/>
                    <a:pt x="249" y="528"/>
                  </a:cubicBezTo>
                  <a:cubicBezTo>
                    <a:pt x="249" y="443"/>
                    <a:pt x="249" y="443"/>
                    <a:pt x="249" y="443"/>
                  </a:cubicBezTo>
                  <a:cubicBezTo>
                    <a:pt x="380" y="443"/>
                    <a:pt x="380" y="443"/>
                    <a:pt x="380" y="443"/>
                  </a:cubicBezTo>
                  <a:cubicBezTo>
                    <a:pt x="380" y="418"/>
                    <a:pt x="380" y="418"/>
                    <a:pt x="380" y="418"/>
                  </a:cubicBezTo>
                  <a:cubicBezTo>
                    <a:pt x="380" y="402"/>
                    <a:pt x="393" y="389"/>
                    <a:pt x="409" y="389"/>
                  </a:cubicBezTo>
                  <a:cubicBezTo>
                    <a:pt x="433" y="389"/>
                    <a:pt x="433" y="389"/>
                    <a:pt x="433" y="389"/>
                  </a:cubicBezTo>
                  <a:cubicBezTo>
                    <a:pt x="433" y="378"/>
                    <a:pt x="433" y="378"/>
                    <a:pt x="433" y="378"/>
                  </a:cubicBezTo>
                  <a:cubicBezTo>
                    <a:pt x="468" y="378"/>
                    <a:pt x="468" y="378"/>
                    <a:pt x="468" y="378"/>
                  </a:cubicBezTo>
                  <a:cubicBezTo>
                    <a:pt x="468" y="413"/>
                    <a:pt x="468" y="413"/>
                    <a:pt x="468" y="413"/>
                  </a:cubicBezTo>
                  <a:cubicBezTo>
                    <a:pt x="433" y="413"/>
                    <a:pt x="433" y="413"/>
                    <a:pt x="433" y="413"/>
                  </a:cubicBezTo>
                  <a:cubicBezTo>
                    <a:pt x="433" y="402"/>
                    <a:pt x="433" y="402"/>
                    <a:pt x="433" y="402"/>
                  </a:cubicBezTo>
                  <a:cubicBezTo>
                    <a:pt x="409" y="402"/>
                    <a:pt x="409" y="402"/>
                    <a:pt x="409" y="402"/>
                  </a:cubicBezTo>
                  <a:cubicBezTo>
                    <a:pt x="400" y="402"/>
                    <a:pt x="393" y="409"/>
                    <a:pt x="393" y="418"/>
                  </a:cubicBezTo>
                  <a:cubicBezTo>
                    <a:pt x="393" y="627"/>
                    <a:pt x="393" y="627"/>
                    <a:pt x="393" y="627"/>
                  </a:cubicBezTo>
                  <a:cubicBezTo>
                    <a:pt x="534" y="627"/>
                    <a:pt x="534" y="627"/>
                    <a:pt x="534" y="627"/>
                  </a:cubicBezTo>
                  <a:cubicBezTo>
                    <a:pt x="534" y="0"/>
                    <a:pt x="534" y="0"/>
                    <a:pt x="534" y="0"/>
                  </a:cubicBezTo>
                  <a:lnTo>
                    <a:pt x="471" y="0"/>
                  </a:lnTo>
                  <a:close/>
                  <a:moveTo>
                    <a:pt x="341" y="627"/>
                  </a:moveTo>
                  <a:cubicBezTo>
                    <a:pt x="328" y="627"/>
                    <a:pt x="328" y="627"/>
                    <a:pt x="328" y="627"/>
                  </a:cubicBezTo>
                  <a:cubicBezTo>
                    <a:pt x="328" y="726"/>
                    <a:pt x="328" y="726"/>
                    <a:pt x="328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39"/>
                    <a:pt x="0" y="739"/>
                    <a:pt x="0" y="739"/>
                  </a:cubicBezTo>
                  <a:cubicBezTo>
                    <a:pt x="341" y="739"/>
                    <a:pt x="341" y="739"/>
                    <a:pt x="341" y="739"/>
                  </a:cubicBezTo>
                  <a:lnTo>
                    <a:pt x="341" y="627"/>
                  </a:lnTo>
                  <a:close/>
                  <a:moveTo>
                    <a:pt x="380" y="627"/>
                  </a:moveTo>
                  <a:cubicBezTo>
                    <a:pt x="380" y="751"/>
                    <a:pt x="380" y="751"/>
                    <a:pt x="380" y="751"/>
                  </a:cubicBezTo>
                  <a:cubicBezTo>
                    <a:pt x="380" y="771"/>
                    <a:pt x="363" y="787"/>
                    <a:pt x="342" y="787"/>
                  </a:cubicBezTo>
                  <a:cubicBezTo>
                    <a:pt x="0" y="787"/>
                    <a:pt x="0" y="787"/>
                    <a:pt x="0" y="787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342" y="800"/>
                    <a:pt x="342" y="800"/>
                    <a:pt x="342" y="800"/>
                  </a:cubicBezTo>
                  <a:cubicBezTo>
                    <a:pt x="370" y="800"/>
                    <a:pt x="393" y="779"/>
                    <a:pt x="393" y="751"/>
                  </a:cubicBezTo>
                  <a:cubicBezTo>
                    <a:pt x="393" y="627"/>
                    <a:pt x="393" y="627"/>
                    <a:pt x="393" y="627"/>
                  </a:cubicBezTo>
                  <a:lnTo>
                    <a:pt x="380" y="62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7" name="Gruppieren 156">
              <a:extLst>
                <a:ext uri="{FF2B5EF4-FFF2-40B4-BE49-F238E27FC236}">
                  <a16:creationId xmlns:a16="http://schemas.microsoft.com/office/drawing/2014/main" id="{2B641AA3-CF8B-40F1-98AF-A6D3BD1965D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4259178" y="5066898"/>
              <a:ext cx="752286" cy="701486"/>
              <a:chOff x="4881328" y="3106801"/>
              <a:chExt cx="347462" cy="323999"/>
            </a:xfrm>
            <a:solidFill>
              <a:srgbClr val="505A64"/>
            </a:solidFill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id="{A74D1356-42CE-478E-BD26-4F5D1FA16C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7118" y="3191158"/>
                <a:ext cx="68060" cy="141671"/>
              </a:xfrm>
              <a:custGeom>
                <a:avLst/>
                <a:gdLst>
                  <a:gd name="T0" fmla="*/ 380 w 380"/>
                  <a:gd name="T1" fmla="*/ 441 h 791"/>
                  <a:gd name="T2" fmla="*/ 168 w 380"/>
                  <a:gd name="T3" fmla="*/ 308 h 791"/>
                  <a:gd name="T4" fmla="*/ 211 w 380"/>
                  <a:gd name="T5" fmla="*/ 0 h 791"/>
                  <a:gd name="T6" fmla="*/ 0 w 380"/>
                  <a:gd name="T7" fmla="*/ 355 h 791"/>
                  <a:gd name="T8" fmla="*/ 211 w 380"/>
                  <a:gd name="T9" fmla="*/ 484 h 791"/>
                  <a:gd name="T10" fmla="*/ 168 w 380"/>
                  <a:gd name="T11" fmla="*/ 791 h 791"/>
                  <a:gd name="T12" fmla="*/ 380 w 380"/>
                  <a:gd name="T13" fmla="*/ 44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791">
                    <a:moveTo>
                      <a:pt x="380" y="441"/>
                    </a:moveTo>
                    <a:lnTo>
                      <a:pt x="168" y="308"/>
                    </a:lnTo>
                    <a:lnTo>
                      <a:pt x="211" y="0"/>
                    </a:lnTo>
                    <a:lnTo>
                      <a:pt x="0" y="355"/>
                    </a:lnTo>
                    <a:lnTo>
                      <a:pt x="211" y="484"/>
                    </a:lnTo>
                    <a:lnTo>
                      <a:pt x="168" y="791"/>
                    </a:lnTo>
                    <a:lnTo>
                      <a:pt x="380" y="4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1">
                <a:extLst>
                  <a:ext uri="{FF2B5EF4-FFF2-40B4-BE49-F238E27FC236}">
                    <a16:creationId xmlns:a16="http://schemas.microsoft.com/office/drawing/2014/main" id="{C0D10DC0-3440-4508-8B11-EF7C8C9F4C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90758" y="3106801"/>
                <a:ext cx="176776" cy="131463"/>
              </a:xfrm>
              <a:custGeom>
                <a:avLst/>
                <a:gdLst>
                  <a:gd name="T0" fmla="*/ 433 w 987"/>
                  <a:gd name="T1" fmla="*/ 369 h 734"/>
                  <a:gd name="T2" fmla="*/ 553 w 987"/>
                  <a:gd name="T3" fmla="*/ 396 h 734"/>
                  <a:gd name="T4" fmla="*/ 660 w 987"/>
                  <a:gd name="T5" fmla="*/ 449 h 734"/>
                  <a:gd name="T6" fmla="*/ 749 w 987"/>
                  <a:gd name="T7" fmla="*/ 527 h 734"/>
                  <a:gd name="T8" fmla="*/ 817 w 987"/>
                  <a:gd name="T9" fmla="*/ 623 h 734"/>
                  <a:gd name="T10" fmla="*/ 861 w 987"/>
                  <a:gd name="T11" fmla="*/ 734 h 734"/>
                  <a:gd name="T12" fmla="*/ 987 w 987"/>
                  <a:gd name="T13" fmla="*/ 705 h 734"/>
                  <a:gd name="T14" fmla="*/ 956 w 987"/>
                  <a:gd name="T15" fmla="*/ 610 h 734"/>
                  <a:gd name="T16" fmla="*/ 910 w 987"/>
                  <a:gd name="T17" fmla="*/ 523 h 734"/>
                  <a:gd name="T18" fmla="*/ 850 w 987"/>
                  <a:gd name="T19" fmla="*/ 445 h 734"/>
                  <a:gd name="T20" fmla="*/ 781 w 987"/>
                  <a:gd name="T21" fmla="*/ 377 h 734"/>
                  <a:gd name="T22" fmla="*/ 701 w 987"/>
                  <a:gd name="T23" fmla="*/ 322 h 734"/>
                  <a:gd name="T24" fmla="*/ 671 w 987"/>
                  <a:gd name="T25" fmla="*/ 172 h 734"/>
                  <a:gd name="T26" fmla="*/ 709 w 987"/>
                  <a:gd name="T27" fmla="*/ 152 h 734"/>
                  <a:gd name="T28" fmla="*/ 731 w 987"/>
                  <a:gd name="T29" fmla="*/ 117 h 734"/>
                  <a:gd name="T30" fmla="*/ 735 w 987"/>
                  <a:gd name="T31" fmla="*/ 89 h 734"/>
                  <a:gd name="T32" fmla="*/ 721 w 987"/>
                  <a:gd name="T33" fmla="*/ 40 h 734"/>
                  <a:gd name="T34" fmla="*/ 682 w 987"/>
                  <a:gd name="T35" fmla="*/ 8 h 734"/>
                  <a:gd name="T36" fmla="*/ 649 w 987"/>
                  <a:gd name="T37" fmla="*/ 0 h 734"/>
                  <a:gd name="T38" fmla="*/ 600 w 987"/>
                  <a:gd name="T39" fmla="*/ 16 h 734"/>
                  <a:gd name="T40" fmla="*/ 568 w 987"/>
                  <a:gd name="T41" fmla="*/ 54 h 734"/>
                  <a:gd name="T42" fmla="*/ 560 w 987"/>
                  <a:gd name="T43" fmla="*/ 89 h 734"/>
                  <a:gd name="T44" fmla="*/ 572 w 987"/>
                  <a:gd name="T45" fmla="*/ 130 h 734"/>
                  <a:gd name="T46" fmla="*/ 600 w 987"/>
                  <a:gd name="T47" fmla="*/ 161 h 734"/>
                  <a:gd name="T48" fmla="*/ 625 w 987"/>
                  <a:gd name="T49" fmla="*/ 284 h 734"/>
                  <a:gd name="T50" fmla="*/ 570 w 987"/>
                  <a:gd name="T51" fmla="*/ 265 h 734"/>
                  <a:gd name="T52" fmla="*/ 482 w 987"/>
                  <a:gd name="T53" fmla="*/ 245 h 734"/>
                  <a:gd name="T54" fmla="*/ 390 w 987"/>
                  <a:gd name="T55" fmla="*/ 238 h 734"/>
                  <a:gd name="T56" fmla="*/ 338 w 987"/>
                  <a:gd name="T57" fmla="*/ 240 h 734"/>
                  <a:gd name="T58" fmla="*/ 261 w 987"/>
                  <a:gd name="T59" fmla="*/ 251 h 734"/>
                  <a:gd name="T60" fmla="*/ 187 w 987"/>
                  <a:gd name="T61" fmla="*/ 273 h 734"/>
                  <a:gd name="T62" fmla="*/ 118 w 987"/>
                  <a:gd name="T63" fmla="*/ 301 h 734"/>
                  <a:gd name="T64" fmla="*/ 53 w 987"/>
                  <a:gd name="T65" fmla="*/ 338 h 734"/>
                  <a:gd name="T66" fmla="*/ 0 w 987"/>
                  <a:gd name="T67" fmla="*/ 468 h 734"/>
                  <a:gd name="T68" fmla="*/ 127 w 987"/>
                  <a:gd name="T69" fmla="*/ 445 h 734"/>
                  <a:gd name="T70" fmla="*/ 233 w 987"/>
                  <a:gd name="T71" fmla="*/ 394 h 734"/>
                  <a:gd name="T72" fmla="*/ 349 w 987"/>
                  <a:gd name="T73" fmla="*/ 369 h 734"/>
                  <a:gd name="T74" fmla="*/ 606 w 987"/>
                  <a:gd name="T75" fmla="*/ 89 h 734"/>
                  <a:gd name="T76" fmla="*/ 609 w 987"/>
                  <a:gd name="T77" fmla="*/ 71 h 734"/>
                  <a:gd name="T78" fmla="*/ 625 w 987"/>
                  <a:gd name="T79" fmla="*/ 54 h 734"/>
                  <a:gd name="T80" fmla="*/ 649 w 987"/>
                  <a:gd name="T81" fmla="*/ 46 h 734"/>
                  <a:gd name="T82" fmla="*/ 664 w 987"/>
                  <a:gd name="T83" fmla="*/ 49 h 734"/>
                  <a:gd name="T84" fmla="*/ 683 w 987"/>
                  <a:gd name="T85" fmla="*/ 65 h 734"/>
                  <a:gd name="T86" fmla="*/ 691 w 987"/>
                  <a:gd name="T87" fmla="*/ 89 h 734"/>
                  <a:gd name="T88" fmla="*/ 686 w 987"/>
                  <a:gd name="T89" fmla="*/ 104 h 734"/>
                  <a:gd name="T90" fmla="*/ 672 w 987"/>
                  <a:gd name="T91" fmla="*/ 123 h 734"/>
                  <a:gd name="T92" fmla="*/ 649 w 987"/>
                  <a:gd name="T93" fmla="*/ 131 h 734"/>
                  <a:gd name="T94" fmla="*/ 631 w 987"/>
                  <a:gd name="T95" fmla="*/ 126 h 734"/>
                  <a:gd name="T96" fmla="*/ 614 w 987"/>
                  <a:gd name="T97" fmla="*/ 112 h 734"/>
                  <a:gd name="T98" fmla="*/ 606 w 987"/>
                  <a:gd name="T99" fmla="*/ 89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87" h="734">
                    <a:moveTo>
                      <a:pt x="390" y="367"/>
                    </a:moveTo>
                    <a:lnTo>
                      <a:pt x="390" y="367"/>
                    </a:lnTo>
                    <a:lnTo>
                      <a:pt x="433" y="369"/>
                    </a:lnTo>
                    <a:lnTo>
                      <a:pt x="474" y="375"/>
                    </a:lnTo>
                    <a:lnTo>
                      <a:pt x="513" y="383"/>
                    </a:lnTo>
                    <a:lnTo>
                      <a:pt x="553" y="396"/>
                    </a:lnTo>
                    <a:lnTo>
                      <a:pt x="590" y="410"/>
                    </a:lnTo>
                    <a:lnTo>
                      <a:pt x="625" y="429"/>
                    </a:lnTo>
                    <a:lnTo>
                      <a:pt x="660" y="449"/>
                    </a:lnTo>
                    <a:lnTo>
                      <a:pt x="691" y="471"/>
                    </a:lnTo>
                    <a:lnTo>
                      <a:pt x="721" y="498"/>
                    </a:lnTo>
                    <a:lnTo>
                      <a:pt x="749" y="527"/>
                    </a:lnTo>
                    <a:lnTo>
                      <a:pt x="775" y="556"/>
                    </a:lnTo>
                    <a:lnTo>
                      <a:pt x="797" y="588"/>
                    </a:lnTo>
                    <a:lnTo>
                      <a:pt x="817" y="623"/>
                    </a:lnTo>
                    <a:lnTo>
                      <a:pt x="836" y="659"/>
                    </a:lnTo>
                    <a:lnTo>
                      <a:pt x="850" y="695"/>
                    </a:lnTo>
                    <a:lnTo>
                      <a:pt x="861" y="734"/>
                    </a:lnTo>
                    <a:lnTo>
                      <a:pt x="898" y="649"/>
                    </a:lnTo>
                    <a:lnTo>
                      <a:pt x="987" y="705"/>
                    </a:lnTo>
                    <a:lnTo>
                      <a:pt x="987" y="705"/>
                    </a:lnTo>
                    <a:lnTo>
                      <a:pt x="979" y="673"/>
                    </a:lnTo>
                    <a:lnTo>
                      <a:pt x="968" y="642"/>
                    </a:lnTo>
                    <a:lnTo>
                      <a:pt x="956" y="610"/>
                    </a:lnTo>
                    <a:lnTo>
                      <a:pt x="942" y="580"/>
                    </a:lnTo>
                    <a:lnTo>
                      <a:pt x="926" y="552"/>
                    </a:lnTo>
                    <a:lnTo>
                      <a:pt x="910" y="523"/>
                    </a:lnTo>
                    <a:lnTo>
                      <a:pt x="891" y="497"/>
                    </a:lnTo>
                    <a:lnTo>
                      <a:pt x="872" y="470"/>
                    </a:lnTo>
                    <a:lnTo>
                      <a:pt x="850" y="445"/>
                    </a:lnTo>
                    <a:lnTo>
                      <a:pt x="828" y="421"/>
                    </a:lnTo>
                    <a:lnTo>
                      <a:pt x="805" y="399"/>
                    </a:lnTo>
                    <a:lnTo>
                      <a:pt x="781" y="377"/>
                    </a:lnTo>
                    <a:lnTo>
                      <a:pt x="754" y="358"/>
                    </a:lnTo>
                    <a:lnTo>
                      <a:pt x="727" y="339"/>
                    </a:lnTo>
                    <a:lnTo>
                      <a:pt x="701" y="322"/>
                    </a:lnTo>
                    <a:lnTo>
                      <a:pt x="671" y="306"/>
                    </a:lnTo>
                    <a:lnTo>
                      <a:pt x="671" y="172"/>
                    </a:lnTo>
                    <a:lnTo>
                      <a:pt x="671" y="172"/>
                    </a:lnTo>
                    <a:lnTo>
                      <a:pt x="685" y="167"/>
                    </a:lnTo>
                    <a:lnTo>
                      <a:pt x="698" y="161"/>
                    </a:lnTo>
                    <a:lnTo>
                      <a:pt x="709" y="152"/>
                    </a:lnTo>
                    <a:lnTo>
                      <a:pt x="718" y="142"/>
                    </a:lnTo>
                    <a:lnTo>
                      <a:pt x="726" y="130"/>
                    </a:lnTo>
                    <a:lnTo>
                      <a:pt x="731" y="117"/>
                    </a:lnTo>
                    <a:lnTo>
                      <a:pt x="735" y="103"/>
                    </a:lnTo>
                    <a:lnTo>
                      <a:pt x="735" y="89"/>
                    </a:lnTo>
                    <a:lnTo>
                      <a:pt x="735" y="89"/>
                    </a:lnTo>
                    <a:lnTo>
                      <a:pt x="734" y="71"/>
                    </a:lnTo>
                    <a:lnTo>
                      <a:pt x="729" y="54"/>
                    </a:lnTo>
                    <a:lnTo>
                      <a:pt x="721" y="40"/>
                    </a:lnTo>
                    <a:lnTo>
                      <a:pt x="710" y="27"/>
                    </a:lnTo>
                    <a:lnTo>
                      <a:pt x="698" y="16"/>
                    </a:lnTo>
                    <a:lnTo>
                      <a:pt x="682" y="8"/>
                    </a:lnTo>
                    <a:lnTo>
                      <a:pt x="666" y="2"/>
                    </a:lnTo>
                    <a:lnTo>
                      <a:pt x="649" y="0"/>
                    </a:lnTo>
                    <a:lnTo>
                      <a:pt x="649" y="0"/>
                    </a:lnTo>
                    <a:lnTo>
                      <a:pt x="631" y="2"/>
                    </a:lnTo>
                    <a:lnTo>
                      <a:pt x="614" y="8"/>
                    </a:lnTo>
                    <a:lnTo>
                      <a:pt x="600" y="16"/>
                    </a:lnTo>
                    <a:lnTo>
                      <a:pt x="587" y="27"/>
                    </a:lnTo>
                    <a:lnTo>
                      <a:pt x="576" y="40"/>
                    </a:lnTo>
                    <a:lnTo>
                      <a:pt x="568" y="54"/>
                    </a:lnTo>
                    <a:lnTo>
                      <a:pt x="562" y="71"/>
                    </a:lnTo>
                    <a:lnTo>
                      <a:pt x="560" y="89"/>
                    </a:lnTo>
                    <a:lnTo>
                      <a:pt x="560" y="89"/>
                    </a:lnTo>
                    <a:lnTo>
                      <a:pt x="562" y="103"/>
                    </a:lnTo>
                    <a:lnTo>
                      <a:pt x="565" y="117"/>
                    </a:lnTo>
                    <a:lnTo>
                      <a:pt x="572" y="130"/>
                    </a:lnTo>
                    <a:lnTo>
                      <a:pt x="579" y="142"/>
                    </a:lnTo>
                    <a:lnTo>
                      <a:pt x="589" y="152"/>
                    </a:lnTo>
                    <a:lnTo>
                      <a:pt x="600" y="161"/>
                    </a:lnTo>
                    <a:lnTo>
                      <a:pt x="612" y="167"/>
                    </a:lnTo>
                    <a:lnTo>
                      <a:pt x="625" y="172"/>
                    </a:lnTo>
                    <a:lnTo>
                      <a:pt x="625" y="284"/>
                    </a:lnTo>
                    <a:lnTo>
                      <a:pt x="625" y="284"/>
                    </a:lnTo>
                    <a:lnTo>
                      <a:pt x="598" y="274"/>
                    </a:lnTo>
                    <a:lnTo>
                      <a:pt x="570" y="265"/>
                    </a:lnTo>
                    <a:lnTo>
                      <a:pt x="542" y="257"/>
                    </a:lnTo>
                    <a:lnTo>
                      <a:pt x="512" y="251"/>
                    </a:lnTo>
                    <a:lnTo>
                      <a:pt x="482" y="245"/>
                    </a:lnTo>
                    <a:lnTo>
                      <a:pt x="452" y="241"/>
                    </a:lnTo>
                    <a:lnTo>
                      <a:pt x="422" y="238"/>
                    </a:lnTo>
                    <a:lnTo>
                      <a:pt x="390" y="238"/>
                    </a:lnTo>
                    <a:lnTo>
                      <a:pt x="390" y="238"/>
                    </a:lnTo>
                    <a:lnTo>
                      <a:pt x="364" y="238"/>
                    </a:lnTo>
                    <a:lnTo>
                      <a:pt x="338" y="240"/>
                    </a:lnTo>
                    <a:lnTo>
                      <a:pt x="312" y="243"/>
                    </a:lnTo>
                    <a:lnTo>
                      <a:pt x="286" y="246"/>
                    </a:lnTo>
                    <a:lnTo>
                      <a:pt x="261" y="251"/>
                    </a:lnTo>
                    <a:lnTo>
                      <a:pt x="236" y="257"/>
                    </a:lnTo>
                    <a:lnTo>
                      <a:pt x="212" y="265"/>
                    </a:lnTo>
                    <a:lnTo>
                      <a:pt x="187" y="273"/>
                    </a:lnTo>
                    <a:lnTo>
                      <a:pt x="164" y="281"/>
                    </a:lnTo>
                    <a:lnTo>
                      <a:pt x="142" y="290"/>
                    </a:lnTo>
                    <a:lnTo>
                      <a:pt x="118" y="301"/>
                    </a:lnTo>
                    <a:lnTo>
                      <a:pt x="96" y="312"/>
                    </a:lnTo>
                    <a:lnTo>
                      <a:pt x="75" y="325"/>
                    </a:lnTo>
                    <a:lnTo>
                      <a:pt x="53" y="338"/>
                    </a:lnTo>
                    <a:lnTo>
                      <a:pt x="33" y="352"/>
                    </a:lnTo>
                    <a:lnTo>
                      <a:pt x="14" y="367"/>
                    </a:lnTo>
                    <a:lnTo>
                      <a:pt x="0" y="468"/>
                    </a:lnTo>
                    <a:lnTo>
                      <a:pt x="96" y="467"/>
                    </a:lnTo>
                    <a:lnTo>
                      <a:pt x="96" y="467"/>
                    </a:lnTo>
                    <a:lnTo>
                      <a:pt x="127" y="445"/>
                    </a:lnTo>
                    <a:lnTo>
                      <a:pt x="160" y="426"/>
                    </a:lnTo>
                    <a:lnTo>
                      <a:pt x="197" y="408"/>
                    </a:lnTo>
                    <a:lnTo>
                      <a:pt x="233" y="394"/>
                    </a:lnTo>
                    <a:lnTo>
                      <a:pt x="271" y="383"/>
                    </a:lnTo>
                    <a:lnTo>
                      <a:pt x="308" y="374"/>
                    </a:lnTo>
                    <a:lnTo>
                      <a:pt x="349" y="369"/>
                    </a:lnTo>
                    <a:lnTo>
                      <a:pt x="390" y="367"/>
                    </a:lnTo>
                    <a:lnTo>
                      <a:pt x="390" y="367"/>
                    </a:lnTo>
                    <a:close/>
                    <a:moveTo>
                      <a:pt x="606" y="89"/>
                    </a:moveTo>
                    <a:lnTo>
                      <a:pt x="606" y="89"/>
                    </a:lnTo>
                    <a:lnTo>
                      <a:pt x="608" y="79"/>
                    </a:lnTo>
                    <a:lnTo>
                      <a:pt x="609" y="71"/>
                    </a:lnTo>
                    <a:lnTo>
                      <a:pt x="614" y="65"/>
                    </a:lnTo>
                    <a:lnTo>
                      <a:pt x="619" y="59"/>
                    </a:lnTo>
                    <a:lnTo>
                      <a:pt x="625" y="54"/>
                    </a:lnTo>
                    <a:lnTo>
                      <a:pt x="631" y="49"/>
                    </a:lnTo>
                    <a:lnTo>
                      <a:pt x="639" y="48"/>
                    </a:lnTo>
                    <a:lnTo>
                      <a:pt x="649" y="46"/>
                    </a:lnTo>
                    <a:lnTo>
                      <a:pt x="649" y="46"/>
                    </a:lnTo>
                    <a:lnTo>
                      <a:pt x="657" y="48"/>
                    </a:lnTo>
                    <a:lnTo>
                      <a:pt x="664" y="49"/>
                    </a:lnTo>
                    <a:lnTo>
                      <a:pt x="672" y="54"/>
                    </a:lnTo>
                    <a:lnTo>
                      <a:pt x="679" y="59"/>
                    </a:lnTo>
                    <a:lnTo>
                      <a:pt x="683" y="65"/>
                    </a:lnTo>
                    <a:lnTo>
                      <a:pt x="686" y="71"/>
                    </a:lnTo>
                    <a:lnTo>
                      <a:pt x="690" y="79"/>
                    </a:lnTo>
                    <a:lnTo>
                      <a:pt x="691" y="89"/>
                    </a:lnTo>
                    <a:lnTo>
                      <a:pt x="691" y="89"/>
                    </a:lnTo>
                    <a:lnTo>
                      <a:pt x="690" y="96"/>
                    </a:lnTo>
                    <a:lnTo>
                      <a:pt x="686" y="104"/>
                    </a:lnTo>
                    <a:lnTo>
                      <a:pt x="683" y="112"/>
                    </a:lnTo>
                    <a:lnTo>
                      <a:pt x="679" y="119"/>
                    </a:lnTo>
                    <a:lnTo>
                      <a:pt x="672" y="123"/>
                    </a:lnTo>
                    <a:lnTo>
                      <a:pt x="664" y="126"/>
                    </a:lnTo>
                    <a:lnTo>
                      <a:pt x="657" y="130"/>
                    </a:lnTo>
                    <a:lnTo>
                      <a:pt x="649" y="131"/>
                    </a:lnTo>
                    <a:lnTo>
                      <a:pt x="649" y="131"/>
                    </a:lnTo>
                    <a:lnTo>
                      <a:pt x="639" y="130"/>
                    </a:lnTo>
                    <a:lnTo>
                      <a:pt x="631" y="126"/>
                    </a:lnTo>
                    <a:lnTo>
                      <a:pt x="625" y="123"/>
                    </a:lnTo>
                    <a:lnTo>
                      <a:pt x="619" y="119"/>
                    </a:lnTo>
                    <a:lnTo>
                      <a:pt x="614" y="112"/>
                    </a:lnTo>
                    <a:lnTo>
                      <a:pt x="609" y="104"/>
                    </a:lnTo>
                    <a:lnTo>
                      <a:pt x="608" y="96"/>
                    </a:lnTo>
                    <a:lnTo>
                      <a:pt x="606" y="89"/>
                    </a:lnTo>
                    <a:lnTo>
                      <a:pt x="606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2">
                <a:extLst>
                  <a:ext uri="{FF2B5EF4-FFF2-40B4-BE49-F238E27FC236}">
                    <a16:creationId xmlns:a16="http://schemas.microsoft.com/office/drawing/2014/main" id="{F6624E35-6903-4A3C-940E-5C57FBA8D0E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81328" y="3180771"/>
                <a:ext cx="152596" cy="180358"/>
              </a:xfrm>
              <a:custGeom>
                <a:avLst/>
                <a:gdLst>
                  <a:gd name="T0" fmla="*/ 735 w 852"/>
                  <a:gd name="T1" fmla="*/ 846 h 1007"/>
                  <a:gd name="T2" fmla="*/ 634 w 852"/>
                  <a:gd name="T3" fmla="*/ 758 h 1007"/>
                  <a:gd name="T4" fmla="*/ 560 w 852"/>
                  <a:gd name="T5" fmla="*/ 644 h 1007"/>
                  <a:gd name="T6" fmla="*/ 521 w 852"/>
                  <a:gd name="T7" fmla="*/ 512 h 1007"/>
                  <a:gd name="T8" fmla="*/ 516 w 852"/>
                  <a:gd name="T9" fmla="*/ 416 h 1007"/>
                  <a:gd name="T10" fmla="*/ 530 w 852"/>
                  <a:gd name="T11" fmla="*/ 320 h 1007"/>
                  <a:gd name="T12" fmla="*/ 562 w 852"/>
                  <a:gd name="T13" fmla="*/ 232 h 1007"/>
                  <a:gd name="T14" fmla="*/ 609 w 852"/>
                  <a:gd name="T15" fmla="*/ 153 h 1007"/>
                  <a:gd name="T16" fmla="*/ 557 w 852"/>
                  <a:gd name="T17" fmla="*/ 103 h 1007"/>
                  <a:gd name="T18" fmla="*/ 518 w 852"/>
                  <a:gd name="T19" fmla="*/ 58 h 1007"/>
                  <a:gd name="T20" fmla="*/ 436 w 852"/>
                  <a:gd name="T21" fmla="*/ 199 h 1007"/>
                  <a:gd name="T22" fmla="*/ 171 w 852"/>
                  <a:gd name="T23" fmla="*/ 276 h 1007"/>
                  <a:gd name="T24" fmla="*/ 141 w 852"/>
                  <a:gd name="T25" fmla="*/ 229 h 1007"/>
                  <a:gd name="T26" fmla="*/ 88 w 852"/>
                  <a:gd name="T27" fmla="*/ 211 h 1007"/>
                  <a:gd name="T28" fmla="*/ 39 w 852"/>
                  <a:gd name="T29" fmla="*/ 225 h 1007"/>
                  <a:gd name="T30" fmla="*/ 1 w 852"/>
                  <a:gd name="T31" fmla="*/ 281 h 1007"/>
                  <a:gd name="T32" fmla="*/ 6 w 852"/>
                  <a:gd name="T33" fmla="*/ 333 h 1007"/>
                  <a:gd name="T34" fmla="*/ 53 w 852"/>
                  <a:gd name="T35" fmla="*/ 378 h 1007"/>
                  <a:gd name="T36" fmla="*/ 102 w 852"/>
                  <a:gd name="T37" fmla="*/ 384 h 1007"/>
                  <a:gd name="T38" fmla="*/ 151 w 852"/>
                  <a:gd name="T39" fmla="*/ 358 h 1007"/>
                  <a:gd name="T40" fmla="*/ 239 w 852"/>
                  <a:gd name="T41" fmla="*/ 321 h 1007"/>
                  <a:gd name="T42" fmla="*/ 212 w 852"/>
                  <a:gd name="T43" fmla="*/ 511 h 1007"/>
                  <a:gd name="T44" fmla="*/ 179 w 852"/>
                  <a:gd name="T45" fmla="*/ 553 h 1007"/>
                  <a:gd name="T46" fmla="*/ 176 w 852"/>
                  <a:gd name="T47" fmla="*/ 600 h 1007"/>
                  <a:gd name="T48" fmla="*/ 212 w 852"/>
                  <a:gd name="T49" fmla="*/ 655 h 1007"/>
                  <a:gd name="T50" fmla="*/ 261 w 852"/>
                  <a:gd name="T51" fmla="*/ 670 h 1007"/>
                  <a:gd name="T52" fmla="*/ 315 w 852"/>
                  <a:gd name="T53" fmla="*/ 652 h 1007"/>
                  <a:gd name="T54" fmla="*/ 346 w 852"/>
                  <a:gd name="T55" fmla="*/ 605 h 1007"/>
                  <a:gd name="T56" fmla="*/ 431 w 852"/>
                  <a:gd name="T57" fmla="*/ 671 h 1007"/>
                  <a:gd name="T58" fmla="*/ 497 w 852"/>
                  <a:gd name="T59" fmla="*/ 792 h 1007"/>
                  <a:gd name="T60" fmla="*/ 587 w 852"/>
                  <a:gd name="T61" fmla="*/ 896 h 1007"/>
                  <a:gd name="T62" fmla="*/ 699 w 852"/>
                  <a:gd name="T63" fmla="*/ 977 h 1007"/>
                  <a:gd name="T64" fmla="*/ 795 w 852"/>
                  <a:gd name="T65" fmla="*/ 881 h 1007"/>
                  <a:gd name="T66" fmla="*/ 71 w 852"/>
                  <a:gd name="T67" fmla="*/ 337 h 1007"/>
                  <a:gd name="T68" fmla="*/ 49 w 852"/>
                  <a:gd name="T69" fmla="*/ 315 h 1007"/>
                  <a:gd name="T70" fmla="*/ 45 w 852"/>
                  <a:gd name="T71" fmla="*/ 290 h 1007"/>
                  <a:gd name="T72" fmla="*/ 64 w 852"/>
                  <a:gd name="T73" fmla="*/ 263 h 1007"/>
                  <a:gd name="T74" fmla="*/ 88 w 852"/>
                  <a:gd name="T75" fmla="*/ 257 h 1007"/>
                  <a:gd name="T76" fmla="*/ 118 w 852"/>
                  <a:gd name="T77" fmla="*/ 268 h 1007"/>
                  <a:gd name="T78" fmla="*/ 129 w 852"/>
                  <a:gd name="T79" fmla="*/ 298 h 1007"/>
                  <a:gd name="T80" fmla="*/ 123 w 852"/>
                  <a:gd name="T81" fmla="*/ 321 h 1007"/>
                  <a:gd name="T82" fmla="*/ 96 w 852"/>
                  <a:gd name="T83" fmla="*/ 339 h 1007"/>
                  <a:gd name="T84" fmla="*/ 261 w 852"/>
                  <a:gd name="T85" fmla="*/ 624 h 1007"/>
                  <a:gd name="T86" fmla="*/ 231 w 852"/>
                  <a:gd name="T87" fmla="*/ 613 h 1007"/>
                  <a:gd name="T88" fmla="*/ 219 w 852"/>
                  <a:gd name="T89" fmla="*/ 583 h 1007"/>
                  <a:gd name="T90" fmla="*/ 227 w 852"/>
                  <a:gd name="T91" fmla="*/ 559 h 1007"/>
                  <a:gd name="T92" fmla="*/ 253 w 852"/>
                  <a:gd name="T93" fmla="*/ 542 h 1007"/>
                  <a:gd name="T94" fmla="*/ 279 w 852"/>
                  <a:gd name="T95" fmla="*/ 544 h 1007"/>
                  <a:gd name="T96" fmla="*/ 301 w 852"/>
                  <a:gd name="T97" fmla="*/ 566 h 1007"/>
                  <a:gd name="T98" fmla="*/ 302 w 852"/>
                  <a:gd name="T99" fmla="*/ 591 h 1007"/>
                  <a:gd name="T100" fmla="*/ 285 w 852"/>
                  <a:gd name="T101" fmla="*/ 618 h 1007"/>
                  <a:gd name="T102" fmla="*/ 261 w 852"/>
                  <a:gd name="T103" fmla="*/ 624 h 1007"/>
                  <a:gd name="T104" fmla="*/ 337 w 852"/>
                  <a:gd name="T105" fmla="*/ 539 h 1007"/>
                  <a:gd name="T106" fmla="*/ 305 w 852"/>
                  <a:gd name="T107" fmla="*/ 507 h 1007"/>
                  <a:gd name="T108" fmla="*/ 398 w 852"/>
                  <a:gd name="T109" fmla="*/ 321 h 1007"/>
                  <a:gd name="T110" fmla="*/ 387 w 852"/>
                  <a:gd name="T111" fmla="*/ 410 h 1007"/>
                  <a:gd name="T112" fmla="*/ 389 w 852"/>
                  <a:gd name="T113" fmla="*/ 501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52" h="1007">
                    <a:moveTo>
                      <a:pt x="795" y="881"/>
                    </a:moveTo>
                    <a:lnTo>
                      <a:pt x="795" y="881"/>
                    </a:lnTo>
                    <a:lnTo>
                      <a:pt x="764" y="865"/>
                    </a:lnTo>
                    <a:lnTo>
                      <a:pt x="735" y="846"/>
                    </a:lnTo>
                    <a:lnTo>
                      <a:pt x="707" y="827"/>
                    </a:lnTo>
                    <a:lnTo>
                      <a:pt x="682" y="807"/>
                    </a:lnTo>
                    <a:lnTo>
                      <a:pt x="656" y="783"/>
                    </a:lnTo>
                    <a:lnTo>
                      <a:pt x="634" y="758"/>
                    </a:lnTo>
                    <a:lnTo>
                      <a:pt x="612" y="731"/>
                    </a:lnTo>
                    <a:lnTo>
                      <a:pt x="593" y="704"/>
                    </a:lnTo>
                    <a:lnTo>
                      <a:pt x="576" y="674"/>
                    </a:lnTo>
                    <a:lnTo>
                      <a:pt x="560" y="644"/>
                    </a:lnTo>
                    <a:lnTo>
                      <a:pt x="548" y="613"/>
                    </a:lnTo>
                    <a:lnTo>
                      <a:pt x="535" y="580"/>
                    </a:lnTo>
                    <a:lnTo>
                      <a:pt x="527" y="547"/>
                    </a:lnTo>
                    <a:lnTo>
                      <a:pt x="521" y="512"/>
                    </a:lnTo>
                    <a:lnTo>
                      <a:pt x="516" y="476"/>
                    </a:lnTo>
                    <a:lnTo>
                      <a:pt x="516" y="440"/>
                    </a:lnTo>
                    <a:lnTo>
                      <a:pt x="516" y="440"/>
                    </a:lnTo>
                    <a:lnTo>
                      <a:pt x="516" y="416"/>
                    </a:lnTo>
                    <a:lnTo>
                      <a:pt x="518" y="391"/>
                    </a:lnTo>
                    <a:lnTo>
                      <a:pt x="521" y="367"/>
                    </a:lnTo>
                    <a:lnTo>
                      <a:pt x="526" y="344"/>
                    </a:lnTo>
                    <a:lnTo>
                      <a:pt x="530" y="320"/>
                    </a:lnTo>
                    <a:lnTo>
                      <a:pt x="537" y="298"/>
                    </a:lnTo>
                    <a:lnTo>
                      <a:pt x="545" y="276"/>
                    </a:lnTo>
                    <a:lnTo>
                      <a:pt x="553" y="254"/>
                    </a:lnTo>
                    <a:lnTo>
                      <a:pt x="562" y="232"/>
                    </a:lnTo>
                    <a:lnTo>
                      <a:pt x="573" y="211"/>
                    </a:lnTo>
                    <a:lnTo>
                      <a:pt x="584" y="191"/>
                    </a:lnTo>
                    <a:lnTo>
                      <a:pt x="597" y="172"/>
                    </a:lnTo>
                    <a:lnTo>
                      <a:pt x="609" y="153"/>
                    </a:lnTo>
                    <a:lnTo>
                      <a:pt x="623" y="134"/>
                    </a:lnTo>
                    <a:lnTo>
                      <a:pt x="639" y="117"/>
                    </a:lnTo>
                    <a:lnTo>
                      <a:pt x="655" y="99"/>
                    </a:lnTo>
                    <a:lnTo>
                      <a:pt x="557" y="103"/>
                    </a:lnTo>
                    <a:lnTo>
                      <a:pt x="573" y="0"/>
                    </a:lnTo>
                    <a:lnTo>
                      <a:pt x="573" y="0"/>
                    </a:lnTo>
                    <a:lnTo>
                      <a:pt x="545" y="28"/>
                    </a:lnTo>
                    <a:lnTo>
                      <a:pt x="518" y="58"/>
                    </a:lnTo>
                    <a:lnTo>
                      <a:pt x="494" y="91"/>
                    </a:lnTo>
                    <a:lnTo>
                      <a:pt x="472" y="126"/>
                    </a:lnTo>
                    <a:lnTo>
                      <a:pt x="453" y="161"/>
                    </a:lnTo>
                    <a:lnTo>
                      <a:pt x="436" y="199"/>
                    </a:lnTo>
                    <a:lnTo>
                      <a:pt x="420" y="236"/>
                    </a:lnTo>
                    <a:lnTo>
                      <a:pt x="409" y="276"/>
                    </a:lnTo>
                    <a:lnTo>
                      <a:pt x="171" y="276"/>
                    </a:lnTo>
                    <a:lnTo>
                      <a:pt x="171" y="276"/>
                    </a:lnTo>
                    <a:lnTo>
                      <a:pt x="167" y="262"/>
                    </a:lnTo>
                    <a:lnTo>
                      <a:pt x="160" y="249"/>
                    </a:lnTo>
                    <a:lnTo>
                      <a:pt x="151" y="238"/>
                    </a:lnTo>
                    <a:lnTo>
                      <a:pt x="141" y="229"/>
                    </a:lnTo>
                    <a:lnTo>
                      <a:pt x="129" y="222"/>
                    </a:lnTo>
                    <a:lnTo>
                      <a:pt x="116" y="216"/>
                    </a:lnTo>
                    <a:lnTo>
                      <a:pt x="102" y="213"/>
                    </a:lnTo>
                    <a:lnTo>
                      <a:pt x="88" y="211"/>
                    </a:lnTo>
                    <a:lnTo>
                      <a:pt x="88" y="211"/>
                    </a:lnTo>
                    <a:lnTo>
                      <a:pt x="69" y="213"/>
                    </a:lnTo>
                    <a:lnTo>
                      <a:pt x="53" y="218"/>
                    </a:lnTo>
                    <a:lnTo>
                      <a:pt x="39" y="225"/>
                    </a:lnTo>
                    <a:lnTo>
                      <a:pt x="25" y="236"/>
                    </a:lnTo>
                    <a:lnTo>
                      <a:pt x="15" y="249"/>
                    </a:lnTo>
                    <a:lnTo>
                      <a:pt x="6" y="265"/>
                    </a:lnTo>
                    <a:lnTo>
                      <a:pt x="1" y="281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1" y="315"/>
                    </a:lnTo>
                    <a:lnTo>
                      <a:pt x="6" y="333"/>
                    </a:lnTo>
                    <a:lnTo>
                      <a:pt x="15" y="347"/>
                    </a:lnTo>
                    <a:lnTo>
                      <a:pt x="25" y="359"/>
                    </a:lnTo>
                    <a:lnTo>
                      <a:pt x="39" y="370"/>
                    </a:lnTo>
                    <a:lnTo>
                      <a:pt x="53" y="378"/>
                    </a:lnTo>
                    <a:lnTo>
                      <a:pt x="69" y="384"/>
                    </a:lnTo>
                    <a:lnTo>
                      <a:pt x="88" y="386"/>
                    </a:lnTo>
                    <a:lnTo>
                      <a:pt x="88" y="386"/>
                    </a:lnTo>
                    <a:lnTo>
                      <a:pt x="102" y="384"/>
                    </a:lnTo>
                    <a:lnTo>
                      <a:pt x="116" y="381"/>
                    </a:lnTo>
                    <a:lnTo>
                      <a:pt x="129" y="375"/>
                    </a:lnTo>
                    <a:lnTo>
                      <a:pt x="141" y="367"/>
                    </a:lnTo>
                    <a:lnTo>
                      <a:pt x="151" y="358"/>
                    </a:lnTo>
                    <a:lnTo>
                      <a:pt x="160" y="347"/>
                    </a:lnTo>
                    <a:lnTo>
                      <a:pt x="167" y="334"/>
                    </a:lnTo>
                    <a:lnTo>
                      <a:pt x="171" y="321"/>
                    </a:lnTo>
                    <a:lnTo>
                      <a:pt x="239" y="321"/>
                    </a:lnTo>
                    <a:lnTo>
                      <a:pt x="239" y="498"/>
                    </a:lnTo>
                    <a:lnTo>
                      <a:pt x="239" y="498"/>
                    </a:lnTo>
                    <a:lnTo>
                      <a:pt x="225" y="503"/>
                    </a:lnTo>
                    <a:lnTo>
                      <a:pt x="212" y="511"/>
                    </a:lnTo>
                    <a:lnTo>
                      <a:pt x="201" y="518"/>
                    </a:lnTo>
                    <a:lnTo>
                      <a:pt x="192" y="529"/>
                    </a:lnTo>
                    <a:lnTo>
                      <a:pt x="184" y="540"/>
                    </a:lnTo>
                    <a:lnTo>
                      <a:pt x="179" y="553"/>
                    </a:lnTo>
                    <a:lnTo>
                      <a:pt x="175" y="567"/>
                    </a:lnTo>
                    <a:lnTo>
                      <a:pt x="175" y="583"/>
                    </a:lnTo>
                    <a:lnTo>
                      <a:pt x="175" y="583"/>
                    </a:lnTo>
                    <a:lnTo>
                      <a:pt x="176" y="600"/>
                    </a:lnTo>
                    <a:lnTo>
                      <a:pt x="181" y="616"/>
                    </a:lnTo>
                    <a:lnTo>
                      <a:pt x="189" y="632"/>
                    </a:lnTo>
                    <a:lnTo>
                      <a:pt x="200" y="644"/>
                    </a:lnTo>
                    <a:lnTo>
                      <a:pt x="212" y="655"/>
                    </a:lnTo>
                    <a:lnTo>
                      <a:pt x="228" y="663"/>
                    </a:lnTo>
                    <a:lnTo>
                      <a:pt x="244" y="668"/>
                    </a:lnTo>
                    <a:lnTo>
                      <a:pt x="261" y="670"/>
                    </a:lnTo>
                    <a:lnTo>
                      <a:pt x="261" y="670"/>
                    </a:lnTo>
                    <a:lnTo>
                      <a:pt x="277" y="668"/>
                    </a:lnTo>
                    <a:lnTo>
                      <a:pt x="290" y="665"/>
                    </a:lnTo>
                    <a:lnTo>
                      <a:pt x="304" y="659"/>
                    </a:lnTo>
                    <a:lnTo>
                      <a:pt x="315" y="652"/>
                    </a:lnTo>
                    <a:lnTo>
                      <a:pt x="326" y="643"/>
                    </a:lnTo>
                    <a:lnTo>
                      <a:pt x="334" y="632"/>
                    </a:lnTo>
                    <a:lnTo>
                      <a:pt x="342" y="619"/>
                    </a:lnTo>
                    <a:lnTo>
                      <a:pt x="346" y="605"/>
                    </a:lnTo>
                    <a:lnTo>
                      <a:pt x="408" y="605"/>
                    </a:lnTo>
                    <a:lnTo>
                      <a:pt x="408" y="605"/>
                    </a:lnTo>
                    <a:lnTo>
                      <a:pt x="419" y="638"/>
                    </a:lnTo>
                    <a:lnTo>
                      <a:pt x="431" y="671"/>
                    </a:lnTo>
                    <a:lnTo>
                      <a:pt x="445" y="704"/>
                    </a:lnTo>
                    <a:lnTo>
                      <a:pt x="461" y="734"/>
                    </a:lnTo>
                    <a:lnTo>
                      <a:pt x="479" y="764"/>
                    </a:lnTo>
                    <a:lnTo>
                      <a:pt x="497" y="792"/>
                    </a:lnTo>
                    <a:lnTo>
                      <a:pt x="518" y="821"/>
                    </a:lnTo>
                    <a:lnTo>
                      <a:pt x="540" y="848"/>
                    </a:lnTo>
                    <a:lnTo>
                      <a:pt x="564" y="873"/>
                    </a:lnTo>
                    <a:lnTo>
                      <a:pt x="587" y="896"/>
                    </a:lnTo>
                    <a:lnTo>
                      <a:pt x="614" y="919"/>
                    </a:lnTo>
                    <a:lnTo>
                      <a:pt x="641" y="939"/>
                    </a:lnTo>
                    <a:lnTo>
                      <a:pt x="669" y="959"/>
                    </a:lnTo>
                    <a:lnTo>
                      <a:pt x="699" y="977"/>
                    </a:lnTo>
                    <a:lnTo>
                      <a:pt x="731" y="993"/>
                    </a:lnTo>
                    <a:lnTo>
                      <a:pt x="762" y="1007"/>
                    </a:lnTo>
                    <a:lnTo>
                      <a:pt x="852" y="969"/>
                    </a:lnTo>
                    <a:lnTo>
                      <a:pt x="795" y="881"/>
                    </a:lnTo>
                    <a:close/>
                    <a:moveTo>
                      <a:pt x="88" y="340"/>
                    </a:moveTo>
                    <a:lnTo>
                      <a:pt x="88" y="340"/>
                    </a:lnTo>
                    <a:lnTo>
                      <a:pt x="78" y="339"/>
                    </a:lnTo>
                    <a:lnTo>
                      <a:pt x="71" y="337"/>
                    </a:lnTo>
                    <a:lnTo>
                      <a:pt x="64" y="333"/>
                    </a:lnTo>
                    <a:lnTo>
                      <a:pt x="58" y="328"/>
                    </a:lnTo>
                    <a:lnTo>
                      <a:pt x="52" y="321"/>
                    </a:lnTo>
                    <a:lnTo>
                      <a:pt x="49" y="315"/>
                    </a:lnTo>
                    <a:lnTo>
                      <a:pt x="45" y="307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0"/>
                    </a:lnTo>
                    <a:lnTo>
                      <a:pt x="49" y="282"/>
                    </a:lnTo>
                    <a:lnTo>
                      <a:pt x="52" y="274"/>
                    </a:lnTo>
                    <a:lnTo>
                      <a:pt x="58" y="268"/>
                    </a:lnTo>
                    <a:lnTo>
                      <a:pt x="64" y="263"/>
                    </a:lnTo>
                    <a:lnTo>
                      <a:pt x="71" y="260"/>
                    </a:lnTo>
                    <a:lnTo>
                      <a:pt x="78" y="257"/>
                    </a:lnTo>
                    <a:lnTo>
                      <a:pt x="88" y="257"/>
                    </a:lnTo>
                    <a:lnTo>
                      <a:pt x="88" y="257"/>
                    </a:lnTo>
                    <a:lnTo>
                      <a:pt x="96" y="257"/>
                    </a:lnTo>
                    <a:lnTo>
                      <a:pt x="104" y="260"/>
                    </a:lnTo>
                    <a:lnTo>
                      <a:pt x="112" y="263"/>
                    </a:lnTo>
                    <a:lnTo>
                      <a:pt x="118" y="268"/>
                    </a:lnTo>
                    <a:lnTo>
                      <a:pt x="123" y="274"/>
                    </a:lnTo>
                    <a:lnTo>
                      <a:pt x="126" y="282"/>
                    </a:lnTo>
                    <a:lnTo>
                      <a:pt x="129" y="290"/>
                    </a:lnTo>
                    <a:lnTo>
                      <a:pt x="129" y="298"/>
                    </a:lnTo>
                    <a:lnTo>
                      <a:pt x="129" y="298"/>
                    </a:lnTo>
                    <a:lnTo>
                      <a:pt x="129" y="307"/>
                    </a:lnTo>
                    <a:lnTo>
                      <a:pt x="126" y="315"/>
                    </a:lnTo>
                    <a:lnTo>
                      <a:pt x="123" y="321"/>
                    </a:lnTo>
                    <a:lnTo>
                      <a:pt x="118" y="328"/>
                    </a:lnTo>
                    <a:lnTo>
                      <a:pt x="112" y="333"/>
                    </a:lnTo>
                    <a:lnTo>
                      <a:pt x="104" y="337"/>
                    </a:lnTo>
                    <a:lnTo>
                      <a:pt x="96" y="339"/>
                    </a:lnTo>
                    <a:lnTo>
                      <a:pt x="88" y="340"/>
                    </a:lnTo>
                    <a:lnTo>
                      <a:pt x="88" y="340"/>
                    </a:lnTo>
                    <a:close/>
                    <a:moveTo>
                      <a:pt x="261" y="624"/>
                    </a:moveTo>
                    <a:lnTo>
                      <a:pt x="261" y="624"/>
                    </a:lnTo>
                    <a:lnTo>
                      <a:pt x="253" y="624"/>
                    </a:lnTo>
                    <a:lnTo>
                      <a:pt x="245" y="621"/>
                    </a:lnTo>
                    <a:lnTo>
                      <a:pt x="238" y="618"/>
                    </a:lnTo>
                    <a:lnTo>
                      <a:pt x="231" y="613"/>
                    </a:lnTo>
                    <a:lnTo>
                      <a:pt x="227" y="607"/>
                    </a:lnTo>
                    <a:lnTo>
                      <a:pt x="223" y="599"/>
                    </a:lnTo>
                    <a:lnTo>
                      <a:pt x="220" y="591"/>
                    </a:lnTo>
                    <a:lnTo>
                      <a:pt x="219" y="583"/>
                    </a:lnTo>
                    <a:lnTo>
                      <a:pt x="219" y="583"/>
                    </a:lnTo>
                    <a:lnTo>
                      <a:pt x="220" y="574"/>
                    </a:lnTo>
                    <a:lnTo>
                      <a:pt x="223" y="566"/>
                    </a:lnTo>
                    <a:lnTo>
                      <a:pt x="227" y="559"/>
                    </a:lnTo>
                    <a:lnTo>
                      <a:pt x="231" y="553"/>
                    </a:lnTo>
                    <a:lnTo>
                      <a:pt x="238" y="548"/>
                    </a:lnTo>
                    <a:lnTo>
                      <a:pt x="245" y="544"/>
                    </a:lnTo>
                    <a:lnTo>
                      <a:pt x="253" y="542"/>
                    </a:lnTo>
                    <a:lnTo>
                      <a:pt x="261" y="540"/>
                    </a:lnTo>
                    <a:lnTo>
                      <a:pt x="261" y="540"/>
                    </a:lnTo>
                    <a:lnTo>
                      <a:pt x="271" y="542"/>
                    </a:lnTo>
                    <a:lnTo>
                      <a:pt x="279" y="544"/>
                    </a:lnTo>
                    <a:lnTo>
                      <a:pt x="285" y="548"/>
                    </a:lnTo>
                    <a:lnTo>
                      <a:pt x="291" y="553"/>
                    </a:lnTo>
                    <a:lnTo>
                      <a:pt x="296" y="559"/>
                    </a:lnTo>
                    <a:lnTo>
                      <a:pt x="301" y="566"/>
                    </a:lnTo>
                    <a:lnTo>
                      <a:pt x="302" y="574"/>
                    </a:lnTo>
                    <a:lnTo>
                      <a:pt x="304" y="583"/>
                    </a:lnTo>
                    <a:lnTo>
                      <a:pt x="304" y="583"/>
                    </a:lnTo>
                    <a:lnTo>
                      <a:pt x="302" y="591"/>
                    </a:lnTo>
                    <a:lnTo>
                      <a:pt x="301" y="599"/>
                    </a:lnTo>
                    <a:lnTo>
                      <a:pt x="296" y="607"/>
                    </a:lnTo>
                    <a:lnTo>
                      <a:pt x="291" y="613"/>
                    </a:lnTo>
                    <a:lnTo>
                      <a:pt x="285" y="618"/>
                    </a:lnTo>
                    <a:lnTo>
                      <a:pt x="279" y="621"/>
                    </a:lnTo>
                    <a:lnTo>
                      <a:pt x="271" y="624"/>
                    </a:lnTo>
                    <a:lnTo>
                      <a:pt x="261" y="624"/>
                    </a:lnTo>
                    <a:lnTo>
                      <a:pt x="261" y="624"/>
                    </a:lnTo>
                    <a:close/>
                    <a:moveTo>
                      <a:pt x="346" y="559"/>
                    </a:moveTo>
                    <a:lnTo>
                      <a:pt x="346" y="559"/>
                    </a:lnTo>
                    <a:lnTo>
                      <a:pt x="342" y="548"/>
                    </a:lnTo>
                    <a:lnTo>
                      <a:pt x="337" y="539"/>
                    </a:lnTo>
                    <a:lnTo>
                      <a:pt x="330" y="529"/>
                    </a:lnTo>
                    <a:lnTo>
                      <a:pt x="323" y="522"/>
                    </a:lnTo>
                    <a:lnTo>
                      <a:pt x="315" y="514"/>
                    </a:lnTo>
                    <a:lnTo>
                      <a:pt x="305" y="507"/>
                    </a:lnTo>
                    <a:lnTo>
                      <a:pt x="294" y="501"/>
                    </a:lnTo>
                    <a:lnTo>
                      <a:pt x="285" y="498"/>
                    </a:lnTo>
                    <a:lnTo>
                      <a:pt x="285" y="321"/>
                    </a:lnTo>
                    <a:lnTo>
                      <a:pt x="398" y="321"/>
                    </a:lnTo>
                    <a:lnTo>
                      <a:pt x="398" y="321"/>
                    </a:lnTo>
                    <a:lnTo>
                      <a:pt x="392" y="350"/>
                    </a:lnTo>
                    <a:lnTo>
                      <a:pt x="389" y="380"/>
                    </a:lnTo>
                    <a:lnTo>
                      <a:pt x="387" y="410"/>
                    </a:lnTo>
                    <a:lnTo>
                      <a:pt x="386" y="440"/>
                    </a:lnTo>
                    <a:lnTo>
                      <a:pt x="386" y="440"/>
                    </a:lnTo>
                    <a:lnTo>
                      <a:pt x="387" y="471"/>
                    </a:lnTo>
                    <a:lnTo>
                      <a:pt x="389" y="501"/>
                    </a:lnTo>
                    <a:lnTo>
                      <a:pt x="392" y="531"/>
                    </a:lnTo>
                    <a:lnTo>
                      <a:pt x="398" y="559"/>
                    </a:lnTo>
                    <a:lnTo>
                      <a:pt x="346" y="5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3">
                <a:extLst>
                  <a:ext uri="{FF2B5EF4-FFF2-40B4-BE49-F238E27FC236}">
                    <a16:creationId xmlns:a16="http://schemas.microsoft.com/office/drawing/2014/main" id="{1596B08A-1255-4963-B9F0-AA16E5497E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28731" y="3235039"/>
                <a:ext cx="200059" cy="195761"/>
              </a:xfrm>
              <a:custGeom>
                <a:avLst/>
                <a:gdLst>
                  <a:gd name="T0" fmla="*/ 1000 w 1117"/>
                  <a:gd name="T1" fmla="*/ 196 h 1093"/>
                  <a:gd name="T2" fmla="*/ 956 w 1117"/>
                  <a:gd name="T3" fmla="*/ 231 h 1093"/>
                  <a:gd name="T4" fmla="*/ 782 w 1117"/>
                  <a:gd name="T5" fmla="*/ 256 h 1093"/>
                  <a:gd name="T6" fmla="*/ 794 w 1117"/>
                  <a:gd name="T7" fmla="*/ 137 h 1093"/>
                  <a:gd name="T8" fmla="*/ 706 w 1117"/>
                  <a:gd name="T9" fmla="*/ 0 h 1093"/>
                  <a:gd name="T10" fmla="*/ 663 w 1117"/>
                  <a:gd name="T11" fmla="*/ 137 h 1093"/>
                  <a:gd name="T12" fmla="*/ 654 w 1117"/>
                  <a:gd name="T13" fmla="*/ 236 h 1093"/>
                  <a:gd name="T14" fmla="*/ 626 w 1117"/>
                  <a:gd name="T15" fmla="*/ 327 h 1093"/>
                  <a:gd name="T16" fmla="*/ 582 w 1117"/>
                  <a:gd name="T17" fmla="*/ 409 h 1093"/>
                  <a:gd name="T18" fmla="*/ 522 w 1117"/>
                  <a:gd name="T19" fmla="*/ 482 h 1093"/>
                  <a:gd name="T20" fmla="*/ 449 w 1117"/>
                  <a:gd name="T21" fmla="*/ 540 h 1093"/>
                  <a:gd name="T22" fmla="*/ 367 w 1117"/>
                  <a:gd name="T23" fmla="*/ 586 h 1093"/>
                  <a:gd name="T24" fmla="*/ 276 w 1117"/>
                  <a:gd name="T25" fmla="*/ 614 h 1093"/>
                  <a:gd name="T26" fmla="*/ 178 w 1117"/>
                  <a:gd name="T27" fmla="*/ 623 h 1093"/>
                  <a:gd name="T28" fmla="*/ 74 w 1117"/>
                  <a:gd name="T29" fmla="*/ 612 h 1093"/>
                  <a:gd name="T30" fmla="*/ 0 w 1117"/>
                  <a:gd name="T31" fmla="*/ 727 h 1093"/>
                  <a:gd name="T32" fmla="*/ 178 w 1117"/>
                  <a:gd name="T33" fmla="*/ 753 h 1093"/>
                  <a:gd name="T34" fmla="*/ 193 w 1117"/>
                  <a:gd name="T35" fmla="*/ 921 h 1093"/>
                  <a:gd name="T36" fmla="*/ 145 w 1117"/>
                  <a:gd name="T37" fmla="*/ 951 h 1093"/>
                  <a:gd name="T38" fmla="*/ 128 w 1117"/>
                  <a:gd name="T39" fmla="*/ 1005 h 1093"/>
                  <a:gd name="T40" fmla="*/ 142 w 1117"/>
                  <a:gd name="T41" fmla="*/ 1053 h 1093"/>
                  <a:gd name="T42" fmla="*/ 197 w 1117"/>
                  <a:gd name="T43" fmla="*/ 1091 h 1093"/>
                  <a:gd name="T44" fmla="*/ 249 w 1117"/>
                  <a:gd name="T45" fmla="*/ 1085 h 1093"/>
                  <a:gd name="T46" fmla="*/ 295 w 1117"/>
                  <a:gd name="T47" fmla="*/ 1039 h 1093"/>
                  <a:gd name="T48" fmla="*/ 301 w 1117"/>
                  <a:gd name="T49" fmla="*/ 990 h 1093"/>
                  <a:gd name="T50" fmla="*/ 274 w 1117"/>
                  <a:gd name="T51" fmla="*/ 942 h 1093"/>
                  <a:gd name="T52" fmla="*/ 237 w 1117"/>
                  <a:gd name="T53" fmla="*/ 749 h 1093"/>
                  <a:gd name="T54" fmla="*/ 377 w 1117"/>
                  <a:gd name="T55" fmla="*/ 721 h 1093"/>
                  <a:gd name="T56" fmla="*/ 539 w 1117"/>
                  <a:gd name="T57" fmla="*/ 636 h 1093"/>
                  <a:gd name="T58" fmla="*/ 670 w 1117"/>
                  <a:gd name="T59" fmla="*/ 508 h 1093"/>
                  <a:gd name="T60" fmla="*/ 756 w 1117"/>
                  <a:gd name="T61" fmla="*/ 346 h 1093"/>
                  <a:gd name="T62" fmla="*/ 950 w 1117"/>
                  <a:gd name="T63" fmla="*/ 316 h 1093"/>
                  <a:gd name="T64" fmla="*/ 988 w 1117"/>
                  <a:gd name="T65" fmla="*/ 356 h 1093"/>
                  <a:gd name="T66" fmla="*/ 1030 w 1117"/>
                  <a:gd name="T67" fmla="*/ 367 h 1093"/>
                  <a:gd name="T68" fmla="*/ 1092 w 1117"/>
                  <a:gd name="T69" fmla="*/ 341 h 1093"/>
                  <a:gd name="T70" fmla="*/ 1117 w 1117"/>
                  <a:gd name="T71" fmla="*/ 280 h 1093"/>
                  <a:gd name="T72" fmla="*/ 1103 w 1117"/>
                  <a:gd name="T73" fmla="*/ 231 h 1093"/>
                  <a:gd name="T74" fmla="*/ 1048 w 1117"/>
                  <a:gd name="T75" fmla="*/ 193 h 1093"/>
                  <a:gd name="T76" fmla="*/ 257 w 1117"/>
                  <a:gd name="T77" fmla="*/ 1005 h 1093"/>
                  <a:gd name="T78" fmla="*/ 245 w 1117"/>
                  <a:gd name="T79" fmla="*/ 1035 h 1093"/>
                  <a:gd name="T80" fmla="*/ 215 w 1117"/>
                  <a:gd name="T81" fmla="*/ 1047 h 1093"/>
                  <a:gd name="T82" fmla="*/ 191 w 1117"/>
                  <a:gd name="T83" fmla="*/ 1039 h 1093"/>
                  <a:gd name="T84" fmla="*/ 174 w 1117"/>
                  <a:gd name="T85" fmla="*/ 1012 h 1093"/>
                  <a:gd name="T86" fmla="*/ 175 w 1117"/>
                  <a:gd name="T87" fmla="*/ 989 h 1093"/>
                  <a:gd name="T88" fmla="*/ 199 w 1117"/>
                  <a:gd name="T89" fmla="*/ 965 h 1093"/>
                  <a:gd name="T90" fmla="*/ 222 w 1117"/>
                  <a:gd name="T91" fmla="*/ 964 h 1093"/>
                  <a:gd name="T92" fmla="*/ 249 w 1117"/>
                  <a:gd name="T93" fmla="*/ 981 h 1093"/>
                  <a:gd name="T94" fmla="*/ 257 w 1117"/>
                  <a:gd name="T95" fmla="*/ 1005 h 1093"/>
                  <a:gd name="T96" fmla="*/ 1013 w 1117"/>
                  <a:gd name="T97" fmla="*/ 318 h 1093"/>
                  <a:gd name="T98" fmla="*/ 991 w 1117"/>
                  <a:gd name="T99" fmla="*/ 296 h 1093"/>
                  <a:gd name="T100" fmla="*/ 988 w 1117"/>
                  <a:gd name="T101" fmla="*/ 271 h 1093"/>
                  <a:gd name="T102" fmla="*/ 1007 w 1117"/>
                  <a:gd name="T103" fmla="*/ 245 h 1093"/>
                  <a:gd name="T104" fmla="*/ 1030 w 1117"/>
                  <a:gd name="T105" fmla="*/ 237 h 1093"/>
                  <a:gd name="T106" fmla="*/ 1059 w 1117"/>
                  <a:gd name="T107" fmla="*/ 250 h 1093"/>
                  <a:gd name="T108" fmla="*/ 1071 w 1117"/>
                  <a:gd name="T109" fmla="*/ 280 h 1093"/>
                  <a:gd name="T110" fmla="*/ 1065 w 1117"/>
                  <a:gd name="T111" fmla="*/ 304 h 1093"/>
                  <a:gd name="T112" fmla="*/ 1038 w 1117"/>
                  <a:gd name="T113" fmla="*/ 321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17" h="1093">
                    <a:moveTo>
                      <a:pt x="1030" y="192"/>
                    </a:moveTo>
                    <a:lnTo>
                      <a:pt x="1030" y="192"/>
                    </a:lnTo>
                    <a:lnTo>
                      <a:pt x="1015" y="193"/>
                    </a:lnTo>
                    <a:lnTo>
                      <a:pt x="1000" y="196"/>
                    </a:lnTo>
                    <a:lnTo>
                      <a:pt x="988" y="203"/>
                    </a:lnTo>
                    <a:lnTo>
                      <a:pt x="977" y="211"/>
                    </a:lnTo>
                    <a:lnTo>
                      <a:pt x="966" y="220"/>
                    </a:lnTo>
                    <a:lnTo>
                      <a:pt x="956" y="231"/>
                    </a:lnTo>
                    <a:lnTo>
                      <a:pt x="950" y="244"/>
                    </a:lnTo>
                    <a:lnTo>
                      <a:pt x="945" y="256"/>
                    </a:lnTo>
                    <a:lnTo>
                      <a:pt x="782" y="256"/>
                    </a:lnTo>
                    <a:lnTo>
                      <a:pt x="782" y="256"/>
                    </a:lnTo>
                    <a:lnTo>
                      <a:pt x="786" y="228"/>
                    </a:lnTo>
                    <a:lnTo>
                      <a:pt x="791" y="198"/>
                    </a:lnTo>
                    <a:lnTo>
                      <a:pt x="793" y="168"/>
                    </a:lnTo>
                    <a:lnTo>
                      <a:pt x="794" y="137"/>
                    </a:lnTo>
                    <a:lnTo>
                      <a:pt x="794" y="137"/>
                    </a:lnTo>
                    <a:lnTo>
                      <a:pt x="793" y="94"/>
                    </a:lnTo>
                    <a:lnTo>
                      <a:pt x="788" y="50"/>
                    </a:lnTo>
                    <a:lnTo>
                      <a:pt x="706" y="0"/>
                    </a:lnTo>
                    <a:lnTo>
                      <a:pt x="663" y="104"/>
                    </a:lnTo>
                    <a:lnTo>
                      <a:pt x="663" y="104"/>
                    </a:lnTo>
                    <a:lnTo>
                      <a:pt x="663" y="137"/>
                    </a:lnTo>
                    <a:lnTo>
                      <a:pt x="663" y="137"/>
                    </a:lnTo>
                    <a:lnTo>
                      <a:pt x="663" y="162"/>
                    </a:lnTo>
                    <a:lnTo>
                      <a:pt x="662" y="187"/>
                    </a:lnTo>
                    <a:lnTo>
                      <a:pt x="659" y="211"/>
                    </a:lnTo>
                    <a:lnTo>
                      <a:pt x="654" y="236"/>
                    </a:lnTo>
                    <a:lnTo>
                      <a:pt x="649" y="259"/>
                    </a:lnTo>
                    <a:lnTo>
                      <a:pt x="643" y="282"/>
                    </a:lnTo>
                    <a:lnTo>
                      <a:pt x="635" y="305"/>
                    </a:lnTo>
                    <a:lnTo>
                      <a:pt x="626" y="327"/>
                    </a:lnTo>
                    <a:lnTo>
                      <a:pt x="616" y="348"/>
                    </a:lnTo>
                    <a:lnTo>
                      <a:pt x="605" y="370"/>
                    </a:lnTo>
                    <a:lnTo>
                      <a:pt x="594" y="389"/>
                    </a:lnTo>
                    <a:lnTo>
                      <a:pt x="582" y="409"/>
                    </a:lnTo>
                    <a:lnTo>
                      <a:pt x="567" y="428"/>
                    </a:lnTo>
                    <a:lnTo>
                      <a:pt x="553" y="447"/>
                    </a:lnTo>
                    <a:lnTo>
                      <a:pt x="537" y="464"/>
                    </a:lnTo>
                    <a:lnTo>
                      <a:pt x="522" y="482"/>
                    </a:lnTo>
                    <a:lnTo>
                      <a:pt x="504" y="497"/>
                    </a:lnTo>
                    <a:lnTo>
                      <a:pt x="487" y="512"/>
                    </a:lnTo>
                    <a:lnTo>
                      <a:pt x="468" y="527"/>
                    </a:lnTo>
                    <a:lnTo>
                      <a:pt x="449" y="540"/>
                    </a:lnTo>
                    <a:lnTo>
                      <a:pt x="430" y="552"/>
                    </a:lnTo>
                    <a:lnTo>
                      <a:pt x="410" y="565"/>
                    </a:lnTo>
                    <a:lnTo>
                      <a:pt x="389" y="576"/>
                    </a:lnTo>
                    <a:lnTo>
                      <a:pt x="367" y="586"/>
                    </a:lnTo>
                    <a:lnTo>
                      <a:pt x="345" y="593"/>
                    </a:lnTo>
                    <a:lnTo>
                      <a:pt x="323" y="601"/>
                    </a:lnTo>
                    <a:lnTo>
                      <a:pt x="300" y="608"/>
                    </a:lnTo>
                    <a:lnTo>
                      <a:pt x="276" y="614"/>
                    </a:lnTo>
                    <a:lnTo>
                      <a:pt x="252" y="617"/>
                    </a:lnTo>
                    <a:lnTo>
                      <a:pt x="227" y="620"/>
                    </a:lnTo>
                    <a:lnTo>
                      <a:pt x="204" y="623"/>
                    </a:lnTo>
                    <a:lnTo>
                      <a:pt x="178" y="623"/>
                    </a:lnTo>
                    <a:lnTo>
                      <a:pt x="178" y="623"/>
                    </a:lnTo>
                    <a:lnTo>
                      <a:pt x="144" y="622"/>
                    </a:lnTo>
                    <a:lnTo>
                      <a:pt x="109" y="619"/>
                    </a:lnTo>
                    <a:lnTo>
                      <a:pt x="74" y="612"/>
                    </a:lnTo>
                    <a:lnTo>
                      <a:pt x="43" y="604"/>
                    </a:lnTo>
                    <a:lnTo>
                      <a:pt x="95" y="686"/>
                    </a:lnTo>
                    <a:lnTo>
                      <a:pt x="0" y="727"/>
                    </a:lnTo>
                    <a:lnTo>
                      <a:pt x="0" y="727"/>
                    </a:lnTo>
                    <a:lnTo>
                      <a:pt x="43" y="738"/>
                    </a:lnTo>
                    <a:lnTo>
                      <a:pt x="87" y="746"/>
                    </a:lnTo>
                    <a:lnTo>
                      <a:pt x="133" y="751"/>
                    </a:lnTo>
                    <a:lnTo>
                      <a:pt x="178" y="753"/>
                    </a:lnTo>
                    <a:lnTo>
                      <a:pt x="178" y="753"/>
                    </a:lnTo>
                    <a:lnTo>
                      <a:pt x="193" y="753"/>
                    </a:lnTo>
                    <a:lnTo>
                      <a:pt x="193" y="921"/>
                    </a:lnTo>
                    <a:lnTo>
                      <a:pt x="193" y="921"/>
                    </a:lnTo>
                    <a:lnTo>
                      <a:pt x="178" y="926"/>
                    </a:lnTo>
                    <a:lnTo>
                      <a:pt x="166" y="932"/>
                    </a:lnTo>
                    <a:lnTo>
                      <a:pt x="155" y="942"/>
                    </a:lnTo>
                    <a:lnTo>
                      <a:pt x="145" y="951"/>
                    </a:lnTo>
                    <a:lnTo>
                      <a:pt x="137" y="964"/>
                    </a:lnTo>
                    <a:lnTo>
                      <a:pt x="133" y="976"/>
                    </a:lnTo>
                    <a:lnTo>
                      <a:pt x="128" y="990"/>
                    </a:lnTo>
                    <a:lnTo>
                      <a:pt x="128" y="1005"/>
                    </a:lnTo>
                    <a:lnTo>
                      <a:pt x="128" y="1005"/>
                    </a:lnTo>
                    <a:lnTo>
                      <a:pt x="130" y="1022"/>
                    </a:lnTo>
                    <a:lnTo>
                      <a:pt x="134" y="1039"/>
                    </a:lnTo>
                    <a:lnTo>
                      <a:pt x="142" y="1053"/>
                    </a:lnTo>
                    <a:lnTo>
                      <a:pt x="153" y="1066"/>
                    </a:lnTo>
                    <a:lnTo>
                      <a:pt x="166" y="1077"/>
                    </a:lnTo>
                    <a:lnTo>
                      <a:pt x="180" y="1085"/>
                    </a:lnTo>
                    <a:lnTo>
                      <a:pt x="197" y="1091"/>
                    </a:lnTo>
                    <a:lnTo>
                      <a:pt x="215" y="1093"/>
                    </a:lnTo>
                    <a:lnTo>
                      <a:pt x="215" y="1093"/>
                    </a:lnTo>
                    <a:lnTo>
                      <a:pt x="232" y="1091"/>
                    </a:lnTo>
                    <a:lnTo>
                      <a:pt x="249" y="1085"/>
                    </a:lnTo>
                    <a:lnTo>
                      <a:pt x="263" y="1077"/>
                    </a:lnTo>
                    <a:lnTo>
                      <a:pt x="276" y="1066"/>
                    </a:lnTo>
                    <a:lnTo>
                      <a:pt x="287" y="1053"/>
                    </a:lnTo>
                    <a:lnTo>
                      <a:pt x="295" y="1039"/>
                    </a:lnTo>
                    <a:lnTo>
                      <a:pt x="300" y="1022"/>
                    </a:lnTo>
                    <a:lnTo>
                      <a:pt x="303" y="1005"/>
                    </a:lnTo>
                    <a:lnTo>
                      <a:pt x="303" y="1005"/>
                    </a:lnTo>
                    <a:lnTo>
                      <a:pt x="301" y="990"/>
                    </a:lnTo>
                    <a:lnTo>
                      <a:pt x="297" y="976"/>
                    </a:lnTo>
                    <a:lnTo>
                      <a:pt x="292" y="964"/>
                    </a:lnTo>
                    <a:lnTo>
                      <a:pt x="284" y="951"/>
                    </a:lnTo>
                    <a:lnTo>
                      <a:pt x="274" y="942"/>
                    </a:lnTo>
                    <a:lnTo>
                      <a:pt x="263" y="932"/>
                    </a:lnTo>
                    <a:lnTo>
                      <a:pt x="251" y="926"/>
                    </a:lnTo>
                    <a:lnTo>
                      <a:pt x="237" y="921"/>
                    </a:lnTo>
                    <a:lnTo>
                      <a:pt x="237" y="749"/>
                    </a:lnTo>
                    <a:lnTo>
                      <a:pt x="237" y="749"/>
                    </a:lnTo>
                    <a:lnTo>
                      <a:pt x="285" y="743"/>
                    </a:lnTo>
                    <a:lnTo>
                      <a:pt x="331" y="734"/>
                    </a:lnTo>
                    <a:lnTo>
                      <a:pt x="377" y="721"/>
                    </a:lnTo>
                    <a:lnTo>
                      <a:pt x="419" y="704"/>
                    </a:lnTo>
                    <a:lnTo>
                      <a:pt x="462" y="683"/>
                    </a:lnTo>
                    <a:lnTo>
                      <a:pt x="501" y="661"/>
                    </a:lnTo>
                    <a:lnTo>
                      <a:pt x="539" y="636"/>
                    </a:lnTo>
                    <a:lnTo>
                      <a:pt x="575" y="608"/>
                    </a:lnTo>
                    <a:lnTo>
                      <a:pt x="608" y="576"/>
                    </a:lnTo>
                    <a:lnTo>
                      <a:pt x="640" y="543"/>
                    </a:lnTo>
                    <a:lnTo>
                      <a:pt x="670" y="508"/>
                    </a:lnTo>
                    <a:lnTo>
                      <a:pt x="695" y="471"/>
                    </a:lnTo>
                    <a:lnTo>
                      <a:pt x="719" y="431"/>
                    </a:lnTo>
                    <a:lnTo>
                      <a:pt x="739" y="390"/>
                    </a:lnTo>
                    <a:lnTo>
                      <a:pt x="756" y="346"/>
                    </a:lnTo>
                    <a:lnTo>
                      <a:pt x="771" y="302"/>
                    </a:lnTo>
                    <a:lnTo>
                      <a:pt x="945" y="302"/>
                    </a:lnTo>
                    <a:lnTo>
                      <a:pt x="945" y="302"/>
                    </a:lnTo>
                    <a:lnTo>
                      <a:pt x="950" y="316"/>
                    </a:lnTo>
                    <a:lnTo>
                      <a:pt x="956" y="329"/>
                    </a:lnTo>
                    <a:lnTo>
                      <a:pt x="966" y="340"/>
                    </a:lnTo>
                    <a:lnTo>
                      <a:pt x="977" y="349"/>
                    </a:lnTo>
                    <a:lnTo>
                      <a:pt x="988" y="356"/>
                    </a:lnTo>
                    <a:lnTo>
                      <a:pt x="1000" y="362"/>
                    </a:lnTo>
                    <a:lnTo>
                      <a:pt x="1015" y="365"/>
                    </a:lnTo>
                    <a:lnTo>
                      <a:pt x="1030" y="367"/>
                    </a:lnTo>
                    <a:lnTo>
                      <a:pt x="1030" y="367"/>
                    </a:lnTo>
                    <a:lnTo>
                      <a:pt x="1048" y="365"/>
                    </a:lnTo>
                    <a:lnTo>
                      <a:pt x="1063" y="360"/>
                    </a:lnTo>
                    <a:lnTo>
                      <a:pt x="1079" y="352"/>
                    </a:lnTo>
                    <a:lnTo>
                      <a:pt x="1092" y="341"/>
                    </a:lnTo>
                    <a:lnTo>
                      <a:pt x="1103" y="329"/>
                    </a:lnTo>
                    <a:lnTo>
                      <a:pt x="1111" y="313"/>
                    </a:lnTo>
                    <a:lnTo>
                      <a:pt x="1115" y="297"/>
                    </a:lnTo>
                    <a:lnTo>
                      <a:pt x="1117" y="280"/>
                    </a:lnTo>
                    <a:lnTo>
                      <a:pt x="1117" y="280"/>
                    </a:lnTo>
                    <a:lnTo>
                      <a:pt x="1115" y="263"/>
                    </a:lnTo>
                    <a:lnTo>
                      <a:pt x="1111" y="245"/>
                    </a:lnTo>
                    <a:lnTo>
                      <a:pt x="1103" y="231"/>
                    </a:lnTo>
                    <a:lnTo>
                      <a:pt x="1092" y="217"/>
                    </a:lnTo>
                    <a:lnTo>
                      <a:pt x="1079" y="208"/>
                    </a:lnTo>
                    <a:lnTo>
                      <a:pt x="1063" y="200"/>
                    </a:lnTo>
                    <a:lnTo>
                      <a:pt x="1048" y="193"/>
                    </a:lnTo>
                    <a:lnTo>
                      <a:pt x="1030" y="192"/>
                    </a:lnTo>
                    <a:lnTo>
                      <a:pt x="1030" y="192"/>
                    </a:lnTo>
                    <a:close/>
                    <a:moveTo>
                      <a:pt x="257" y="1005"/>
                    </a:moveTo>
                    <a:lnTo>
                      <a:pt x="257" y="1005"/>
                    </a:lnTo>
                    <a:lnTo>
                      <a:pt x="256" y="1012"/>
                    </a:lnTo>
                    <a:lnTo>
                      <a:pt x="254" y="1022"/>
                    </a:lnTo>
                    <a:lnTo>
                      <a:pt x="249" y="1028"/>
                    </a:lnTo>
                    <a:lnTo>
                      <a:pt x="245" y="1035"/>
                    </a:lnTo>
                    <a:lnTo>
                      <a:pt x="238" y="1039"/>
                    </a:lnTo>
                    <a:lnTo>
                      <a:pt x="230" y="1044"/>
                    </a:lnTo>
                    <a:lnTo>
                      <a:pt x="222" y="1046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07" y="1046"/>
                    </a:lnTo>
                    <a:lnTo>
                      <a:pt x="199" y="1044"/>
                    </a:lnTo>
                    <a:lnTo>
                      <a:pt x="191" y="1039"/>
                    </a:lnTo>
                    <a:lnTo>
                      <a:pt x="185" y="1035"/>
                    </a:lnTo>
                    <a:lnTo>
                      <a:pt x="180" y="1028"/>
                    </a:lnTo>
                    <a:lnTo>
                      <a:pt x="175" y="1022"/>
                    </a:lnTo>
                    <a:lnTo>
                      <a:pt x="174" y="1012"/>
                    </a:lnTo>
                    <a:lnTo>
                      <a:pt x="172" y="1005"/>
                    </a:lnTo>
                    <a:lnTo>
                      <a:pt x="172" y="1005"/>
                    </a:lnTo>
                    <a:lnTo>
                      <a:pt x="174" y="997"/>
                    </a:lnTo>
                    <a:lnTo>
                      <a:pt x="175" y="989"/>
                    </a:lnTo>
                    <a:lnTo>
                      <a:pt x="180" y="981"/>
                    </a:lnTo>
                    <a:lnTo>
                      <a:pt x="185" y="975"/>
                    </a:lnTo>
                    <a:lnTo>
                      <a:pt x="191" y="970"/>
                    </a:lnTo>
                    <a:lnTo>
                      <a:pt x="199" y="965"/>
                    </a:lnTo>
                    <a:lnTo>
                      <a:pt x="207" y="964"/>
                    </a:lnTo>
                    <a:lnTo>
                      <a:pt x="215" y="962"/>
                    </a:lnTo>
                    <a:lnTo>
                      <a:pt x="215" y="962"/>
                    </a:lnTo>
                    <a:lnTo>
                      <a:pt x="222" y="964"/>
                    </a:lnTo>
                    <a:lnTo>
                      <a:pt x="230" y="965"/>
                    </a:lnTo>
                    <a:lnTo>
                      <a:pt x="238" y="970"/>
                    </a:lnTo>
                    <a:lnTo>
                      <a:pt x="245" y="975"/>
                    </a:lnTo>
                    <a:lnTo>
                      <a:pt x="249" y="981"/>
                    </a:lnTo>
                    <a:lnTo>
                      <a:pt x="254" y="989"/>
                    </a:lnTo>
                    <a:lnTo>
                      <a:pt x="256" y="997"/>
                    </a:lnTo>
                    <a:lnTo>
                      <a:pt x="257" y="1005"/>
                    </a:lnTo>
                    <a:lnTo>
                      <a:pt x="257" y="1005"/>
                    </a:lnTo>
                    <a:close/>
                    <a:moveTo>
                      <a:pt x="1030" y="321"/>
                    </a:moveTo>
                    <a:lnTo>
                      <a:pt x="1030" y="321"/>
                    </a:lnTo>
                    <a:lnTo>
                      <a:pt x="1021" y="321"/>
                    </a:lnTo>
                    <a:lnTo>
                      <a:pt x="1013" y="318"/>
                    </a:lnTo>
                    <a:lnTo>
                      <a:pt x="1007" y="315"/>
                    </a:lnTo>
                    <a:lnTo>
                      <a:pt x="1000" y="310"/>
                    </a:lnTo>
                    <a:lnTo>
                      <a:pt x="994" y="304"/>
                    </a:lnTo>
                    <a:lnTo>
                      <a:pt x="991" y="296"/>
                    </a:lnTo>
                    <a:lnTo>
                      <a:pt x="988" y="288"/>
                    </a:lnTo>
                    <a:lnTo>
                      <a:pt x="988" y="280"/>
                    </a:lnTo>
                    <a:lnTo>
                      <a:pt x="988" y="280"/>
                    </a:lnTo>
                    <a:lnTo>
                      <a:pt x="988" y="271"/>
                    </a:lnTo>
                    <a:lnTo>
                      <a:pt x="991" y="263"/>
                    </a:lnTo>
                    <a:lnTo>
                      <a:pt x="994" y="256"/>
                    </a:lnTo>
                    <a:lnTo>
                      <a:pt x="1000" y="250"/>
                    </a:lnTo>
                    <a:lnTo>
                      <a:pt x="1007" y="245"/>
                    </a:lnTo>
                    <a:lnTo>
                      <a:pt x="1013" y="241"/>
                    </a:lnTo>
                    <a:lnTo>
                      <a:pt x="1021" y="239"/>
                    </a:lnTo>
                    <a:lnTo>
                      <a:pt x="1030" y="237"/>
                    </a:lnTo>
                    <a:lnTo>
                      <a:pt x="1030" y="237"/>
                    </a:lnTo>
                    <a:lnTo>
                      <a:pt x="1038" y="239"/>
                    </a:lnTo>
                    <a:lnTo>
                      <a:pt x="1046" y="241"/>
                    </a:lnTo>
                    <a:lnTo>
                      <a:pt x="1054" y="245"/>
                    </a:lnTo>
                    <a:lnTo>
                      <a:pt x="1059" y="250"/>
                    </a:lnTo>
                    <a:lnTo>
                      <a:pt x="1065" y="256"/>
                    </a:lnTo>
                    <a:lnTo>
                      <a:pt x="1068" y="263"/>
                    </a:lnTo>
                    <a:lnTo>
                      <a:pt x="1071" y="271"/>
                    </a:lnTo>
                    <a:lnTo>
                      <a:pt x="1071" y="280"/>
                    </a:lnTo>
                    <a:lnTo>
                      <a:pt x="1071" y="280"/>
                    </a:lnTo>
                    <a:lnTo>
                      <a:pt x="1071" y="288"/>
                    </a:lnTo>
                    <a:lnTo>
                      <a:pt x="1068" y="296"/>
                    </a:lnTo>
                    <a:lnTo>
                      <a:pt x="1065" y="304"/>
                    </a:lnTo>
                    <a:lnTo>
                      <a:pt x="1059" y="310"/>
                    </a:lnTo>
                    <a:lnTo>
                      <a:pt x="1054" y="315"/>
                    </a:lnTo>
                    <a:lnTo>
                      <a:pt x="1046" y="318"/>
                    </a:lnTo>
                    <a:lnTo>
                      <a:pt x="1038" y="321"/>
                    </a:lnTo>
                    <a:lnTo>
                      <a:pt x="1030" y="321"/>
                    </a:lnTo>
                    <a:lnTo>
                      <a:pt x="1030" y="3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" name="Rechteck 4">
              <a:extLst>
                <a:ext uri="{FF2B5EF4-FFF2-40B4-BE49-F238E27FC236}">
                  <a16:creationId xmlns:a16="http://schemas.microsoft.com/office/drawing/2014/main" id="{6AC9764B-333D-44D5-9014-640DEF32D1D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40" y="1815634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Permanent Power</a:t>
              </a:r>
            </a:p>
          </p:txBody>
        </p:sp>
        <p:sp>
          <p:nvSpPr>
            <p:cNvPr id="49" name="Rechteck 77">
              <a:extLst>
                <a:ext uri="{FF2B5EF4-FFF2-40B4-BE49-F238E27FC236}">
                  <a16:creationId xmlns:a16="http://schemas.microsoft.com/office/drawing/2014/main" id="{D83A4F91-6D02-4FDA-BA67-6B22C9F03A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070" y="275928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Volatile Power</a:t>
              </a:r>
            </a:p>
          </p:txBody>
        </p:sp>
        <p:sp>
          <p:nvSpPr>
            <p:cNvPr id="50" name="Freihandform 9">
              <a:extLst>
                <a:ext uri="{FF2B5EF4-FFF2-40B4-BE49-F238E27FC236}">
                  <a16:creationId xmlns:a16="http://schemas.microsoft.com/office/drawing/2014/main" id="{7238E850-1EC8-446B-A06C-C8CD032B0111}"/>
                </a:ext>
              </a:extLst>
            </p:cNvPr>
            <p:cNvSpPr/>
            <p:nvPr/>
          </p:nvSpPr>
          <p:spPr bwMode="gray">
            <a:xfrm rot="20239983">
              <a:off x="3221731" y="26461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1" name="Freeform 60">
              <a:extLst>
                <a:ext uri="{FF2B5EF4-FFF2-40B4-BE49-F238E27FC236}">
                  <a16:creationId xmlns:a16="http://schemas.microsoft.com/office/drawing/2014/main" id="{034C0B60-6961-455E-836F-97EE14E6528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522159" y="2765423"/>
              <a:ext cx="408267" cy="628372"/>
            </a:xfrm>
            <a:custGeom>
              <a:avLst/>
              <a:gdLst>
                <a:gd name="T0" fmla="*/ 465 w 1419"/>
                <a:gd name="T1" fmla="*/ 819 h 2084"/>
                <a:gd name="T2" fmla="*/ 524 w 1419"/>
                <a:gd name="T3" fmla="*/ 879 h 2084"/>
                <a:gd name="T4" fmla="*/ 584 w 1419"/>
                <a:gd name="T5" fmla="*/ 819 h 2084"/>
                <a:gd name="T6" fmla="*/ 524 w 1419"/>
                <a:gd name="T7" fmla="*/ 760 h 2084"/>
                <a:gd name="T8" fmla="*/ 465 w 1419"/>
                <a:gd name="T9" fmla="*/ 819 h 2084"/>
                <a:gd name="T10" fmla="*/ 558 w 1419"/>
                <a:gd name="T11" fmla="*/ 900 h 2084"/>
                <a:gd name="T12" fmla="*/ 610 w 1419"/>
                <a:gd name="T13" fmla="*/ 2084 h 2084"/>
                <a:gd name="T14" fmla="*/ 524 w 1419"/>
                <a:gd name="T15" fmla="*/ 2084 h 2084"/>
                <a:gd name="T16" fmla="*/ 439 w 1419"/>
                <a:gd name="T17" fmla="*/ 2084 h 2084"/>
                <a:gd name="T18" fmla="*/ 481 w 1419"/>
                <a:gd name="T19" fmla="*/ 1117 h 2084"/>
                <a:gd name="T20" fmla="*/ 34 w 1419"/>
                <a:gd name="T21" fmla="*/ 1546 h 2084"/>
                <a:gd name="T22" fmla="*/ 0 w 1419"/>
                <a:gd name="T23" fmla="*/ 1550 h 2084"/>
                <a:gd name="T24" fmla="*/ 459 w 1419"/>
                <a:gd name="T25" fmla="*/ 878 h 2084"/>
                <a:gd name="T26" fmla="*/ 437 w 1419"/>
                <a:gd name="T27" fmla="*/ 819 h 2084"/>
                <a:gd name="T28" fmla="*/ 444 w 1419"/>
                <a:gd name="T29" fmla="*/ 784 h 2084"/>
                <a:gd name="T30" fmla="*/ 298 w 1419"/>
                <a:gd name="T31" fmla="*/ 673 h 2084"/>
                <a:gd name="T32" fmla="*/ 141 w 1419"/>
                <a:gd name="T33" fmla="*/ 32 h 2084"/>
                <a:gd name="T34" fmla="*/ 154 w 1419"/>
                <a:gd name="T35" fmla="*/ 0 h 2084"/>
                <a:gd name="T36" fmla="*/ 507 w 1419"/>
                <a:gd name="T37" fmla="*/ 734 h 2084"/>
                <a:gd name="T38" fmla="*/ 524 w 1419"/>
                <a:gd name="T39" fmla="*/ 732 h 2084"/>
                <a:gd name="T40" fmla="*/ 595 w 1419"/>
                <a:gd name="T41" fmla="*/ 768 h 2084"/>
                <a:gd name="T42" fmla="*/ 764 w 1419"/>
                <a:gd name="T43" fmla="*/ 697 h 2084"/>
                <a:gd name="T44" fmla="*/ 1398 w 1419"/>
                <a:gd name="T45" fmla="*/ 881 h 2084"/>
                <a:gd name="T46" fmla="*/ 1419 w 1419"/>
                <a:gd name="T47" fmla="*/ 908 h 2084"/>
                <a:gd name="T48" fmla="*/ 607 w 1419"/>
                <a:gd name="T49" fmla="*/ 847 h 2084"/>
                <a:gd name="T50" fmla="*/ 558 w 1419"/>
                <a:gd name="T51" fmla="*/ 900 h 2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19" h="2084">
                  <a:moveTo>
                    <a:pt x="465" y="819"/>
                  </a:moveTo>
                  <a:cubicBezTo>
                    <a:pt x="465" y="852"/>
                    <a:pt x="492" y="879"/>
                    <a:pt x="524" y="879"/>
                  </a:cubicBezTo>
                  <a:cubicBezTo>
                    <a:pt x="557" y="879"/>
                    <a:pt x="584" y="852"/>
                    <a:pt x="584" y="819"/>
                  </a:cubicBezTo>
                  <a:cubicBezTo>
                    <a:pt x="584" y="787"/>
                    <a:pt x="557" y="760"/>
                    <a:pt x="524" y="760"/>
                  </a:cubicBezTo>
                  <a:cubicBezTo>
                    <a:pt x="492" y="760"/>
                    <a:pt x="465" y="787"/>
                    <a:pt x="465" y="819"/>
                  </a:cubicBezTo>
                  <a:close/>
                  <a:moveTo>
                    <a:pt x="558" y="900"/>
                  </a:moveTo>
                  <a:cubicBezTo>
                    <a:pt x="610" y="2084"/>
                    <a:pt x="610" y="2084"/>
                    <a:pt x="610" y="2084"/>
                  </a:cubicBezTo>
                  <a:cubicBezTo>
                    <a:pt x="524" y="2084"/>
                    <a:pt x="524" y="2084"/>
                    <a:pt x="524" y="2084"/>
                  </a:cubicBezTo>
                  <a:cubicBezTo>
                    <a:pt x="439" y="2084"/>
                    <a:pt x="439" y="2084"/>
                    <a:pt x="439" y="2084"/>
                  </a:cubicBezTo>
                  <a:cubicBezTo>
                    <a:pt x="481" y="1117"/>
                    <a:pt x="481" y="1117"/>
                    <a:pt x="481" y="1117"/>
                  </a:cubicBezTo>
                  <a:cubicBezTo>
                    <a:pt x="34" y="1546"/>
                    <a:pt x="34" y="1546"/>
                    <a:pt x="34" y="1546"/>
                  </a:cubicBezTo>
                  <a:cubicBezTo>
                    <a:pt x="0" y="1550"/>
                    <a:pt x="0" y="1550"/>
                    <a:pt x="0" y="1550"/>
                  </a:cubicBezTo>
                  <a:cubicBezTo>
                    <a:pt x="459" y="878"/>
                    <a:pt x="459" y="878"/>
                    <a:pt x="459" y="878"/>
                  </a:cubicBezTo>
                  <a:cubicBezTo>
                    <a:pt x="445" y="862"/>
                    <a:pt x="437" y="842"/>
                    <a:pt x="437" y="819"/>
                  </a:cubicBezTo>
                  <a:cubicBezTo>
                    <a:pt x="437" y="807"/>
                    <a:pt x="439" y="795"/>
                    <a:pt x="444" y="784"/>
                  </a:cubicBezTo>
                  <a:cubicBezTo>
                    <a:pt x="298" y="673"/>
                    <a:pt x="298" y="673"/>
                    <a:pt x="298" y="673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507" y="734"/>
                    <a:pt x="507" y="734"/>
                    <a:pt x="507" y="734"/>
                  </a:cubicBezTo>
                  <a:cubicBezTo>
                    <a:pt x="512" y="733"/>
                    <a:pt x="518" y="732"/>
                    <a:pt x="524" y="732"/>
                  </a:cubicBezTo>
                  <a:cubicBezTo>
                    <a:pt x="553" y="732"/>
                    <a:pt x="579" y="746"/>
                    <a:pt x="595" y="768"/>
                  </a:cubicBezTo>
                  <a:cubicBezTo>
                    <a:pt x="764" y="697"/>
                    <a:pt x="764" y="697"/>
                    <a:pt x="764" y="697"/>
                  </a:cubicBezTo>
                  <a:cubicBezTo>
                    <a:pt x="1398" y="881"/>
                    <a:pt x="1398" y="881"/>
                    <a:pt x="1398" y="881"/>
                  </a:cubicBezTo>
                  <a:cubicBezTo>
                    <a:pt x="1419" y="908"/>
                    <a:pt x="1419" y="908"/>
                    <a:pt x="1419" y="908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599" y="871"/>
                    <a:pt x="581" y="890"/>
                    <a:pt x="558" y="900"/>
                  </a:cubicBez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ihandform 13">
              <a:extLst>
                <a:ext uri="{FF2B5EF4-FFF2-40B4-BE49-F238E27FC236}">
                  <a16:creationId xmlns:a16="http://schemas.microsoft.com/office/drawing/2014/main" id="{CB0E0B77-3139-4CA8-9EC1-870BB923828F}"/>
                </a:ext>
              </a:extLst>
            </p:cNvPr>
            <p:cNvSpPr/>
            <p:nvPr/>
          </p:nvSpPr>
          <p:spPr bwMode="gray">
            <a:xfrm rot="20239983">
              <a:off x="4200064" y="1652809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8615D3A8-F7BF-47B5-925F-D371990E613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4333415" y="1821450"/>
              <a:ext cx="543403" cy="554657"/>
            </a:xfrm>
            <a:custGeom>
              <a:avLst/>
              <a:gdLst>
                <a:gd name="T0" fmla="*/ 1758 w 1758"/>
                <a:gd name="T1" fmla="*/ 0 h 1711"/>
                <a:gd name="T2" fmla="*/ 902 w 1758"/>
                <a:gd name="T3" fmla="*/ 1398 h 1711"/>
                <a:gd name="T4" fmla="*/ 929 w 1758"/>
                <a:gd name="T5" fmla="*/ 1286 h 1711"/>
                <a:gd name="T6" fmla="*/ 904 w 1758"/>
                <a:gd name="T7" fmla="*/ 1117 h 1711"/>
                <a:gd name="T8" fmla="*/ 823 w 1758"/>
                <a:gd name="T9" fmla="*/ 968 h 1711"/>
                <a:gd name="T10" fmla="*/ 696 w 1758"/>
                <a:gd name="T11" fmla="*/ 855 h 1711"/>
                <a:gd name="T12" fmla="*/ 584 w 1758"/>
                <a:gd name="T13" fmla="*/ 504 h 1711"/>
                <a:gd name="T14" fmla="*/ 932 w 1758"/>
                <a:gd name="T15" fmla="*/ 504 h 1711"/>
                <a:gd name="T16" fmla="*/ 1279 w 1758"/>
                <a:gd name="T17" fmla="*/ 504 h 1711"/>
                <a:gd name="T18" fmla="*/ 1626 w 1758"/>
                <a:gd name="T19" fmla="*/ 0 h 1711"/>
                <a:gd name="T20" fmla="*/ 725 w 1758"/>
                <a:gd name="T21" fmla="*/ 1025 h 1711"/>
                <a:gd name="T22" fmla="*/ 657 w 1758"/>
                <a:gd name="T23" fmla="*/ 1152 h 1711"/>
                <a:gd name="T24" fmla="*/ 671 w 1758"/>
                <a:gd name="T25" fmla="*/ 1183 h 1711"/>
                <a:gd name="T26" fmla="*/ 879 w 1758"/>
                <a:gd name="T27" fmla="*/ 1236 h 1711"/>
                <a:gd name="T28" fmla="*/ 673 w 1758"/>
                <a:gd name="T29" fmla="*/ 1187 h 1711"/>
                <a:gd name="T30" fmla="*/ 688 w 1758"/>
                <a:gd name="T31" fmla="*/ 1268 h 1711"/>
                <a:gd name="T32" fmla="*/ 864 w 1758"/>
                <a:gd name="T33" fmla="*/ 1389 h 1711"/>
                <a:gd name="T34" fmla="*/ 688 w 1758"/>
                <a:gd name="T35" fmla="*/ 1268 h 1711"/>
                <a:gd name="T36" fmla="*/ 796 w 1758"/>
                <a:gd name="T37" fmla="*/ 1396 h 1711"/>
                <a:gd name="T38" fmla="*/ 652 w 1758"/>
                <a:gd name="T39" fmla="*/ 1401 h 1711"/>
                <a:gd name="T40" fmla="*/ 633 w 1758"/>
                <a:gd name="T41" fmla="*/ 1429 h 1711"/>
                <a:gd name="T42" fmla="*/ 690 w 1758"/>
                <a:gd name="T43" fmla="*/ 1635 h 1711"/>
                <a:gd name="T44" fmla="*/ 633 w 1758"/>
                <a:gd name="T45" fmla="*/ 1429 h 1711"/>
                <a:gd name="T46" fmla="*/ 633 w 1758"/>
                <a:gd name="T47" fmla="*/ 1596 h 1711"/>
                <a:gd name="T48" fmla="*/ 520 w 1758"/>
                <a:gd name="T49" fmla="*/ 1508 h 1711"/>
                <a:gd name="T50" fmla="*/ 487 w 1758"/>
                <a:gd name="T51" fmla="*/ 1516 h 1711"/>
                <a:gd name="T52" fmla="*/ 399 w 1758"/>
                <a:gd name="T53" fmla="*/ 1711 h 1711"/>
                <a:gd name="T54" fmla="*/ 487 w 1758"/>
                <a:gd name="T55" fmla="*/ 1516 h 1711"/>
                <a:gd name="T56" fmla="*/ 380 w 1758"/>
                <a:gd name="T57" fmla="*/ 1645 h 1711"/>
                <a:gd name="T58" fmla="*/ 350 w 1758"/>
                <a:gd name="T59" fmla="*/ 1504 h 1711"/>
                <a:gd name="T60" fmla="*/ 319 w 1758"/>
                <a:gd name="T61" fmla="*/ 1490 h 1711"/>
                <a:gd name="T62" fmla="*/ 126 w 1758"/>
                <a:gd name="T63" fmla="*/ 1582 h 1711"/>
                <a:gd name="T64" fmla="*/ 319 w 1758"/>
                <a:gd name="T65" fmla="*/ 1490 h 1711"/>
                <a:gd name="T66" fmla="*/ 154 w 1758"/>
                <a:gd name="T67" fmla="*/ 1519 h 1711"/>
                <a:gd name="T68" fmla="*/ 222 w 1758"/>
                <a:gd name="T69" fmla="*/ 1393 h 1711"/>
                <a:gd name="T70" fmla="*/ 208 w 1758"/>
                <a:gd name="T71" fmla="*/ 1361 h 1711"/>
                <a:gd name="T72" fmla="*/ 0 w 1758"/>
                <a:gd name="T73" fmla="*/ 1308 h 1711"/>
                <a:gd name="T74" fmla="*/ 206 w 1758"/>
                <a:gd name="T75" fmla="*/ 1357 h 1711"/>
                <a:gd name="T76" fmla="*/ 191 w 1758"/>
                <a:gd name="T77" fmla="*/ 1277 h 1711"/>
                <a:gd name="T78" fmla="*/ 15 w 1758"/>
                <a:gd name="T79" fmla="*/ 1156 h 1711"/>
                <a:gd name="T80" fmla="*/ 191 w 1758"/>
                <a:gd name="T81" fmla="*/ 1277 h 1711"/>
                <a:gd name="T82" fmla="*/ 83 w 1758"/>
                <a:gd name="T83" fmla="*/ 1149 h 1711"/>
                <a:gd name="T84" fmla="*/ 226 w 1758"/>
                <a:gd name="T85" fmla="*/ 1144 h 1711"/>
                <a:gd name="T86" fmla="*/ 246 w 1758"/>
                <a:gd name="T87" fmla="*/ 1116 h 1711"/>
                <a:gd name="T88" fmla="*/ 189 w 1758"/>
                <a:gd name="T89" fmla="*/ 910 h 1711"/>
                <a:gd name="T90" fmla="*/ 246 w 1758"/>
                <a:gd name="T91" fmla="*/ 1116 h 1711"/>
                <a:gd name="T92" fmla="*/ 246 w 1758"/>
                <a:gd name="T93" fmla="*/ 948 h 1711"/>
                <a:gd name="T94" fmla="*/ 359 w 1758"/>
                <a:gd name="T95" fmla="*/ 1037 h 1711"/>
                <a:gd name="T96" fmla="*/ 392 w 1758"/>
                <a:gd name="T97" fmla="*/ 1028 h 1711"/>
                <a:gd name="T98" fmla="*/ 480 w 1758"/>
                <a:gd name="T99" fmla="*/ 834 h 1711"/>
                <a:gd name="T100" fmla="*/ 392 w 1758"/>
                <a:gd name="T101" fmla="*/ 1028 h 1711"/>
                <a:gd name="T102" fmla="*/ 499 w 1758"/>
                <a:gd name="T103" fmla="*/ 900 h 1711"/>
                <a:gd name="T104" fmla="*/ 529 w 1758"/>
                <a:gd name="T105" fmla="*/ 1040 h 1711"/>
                <a:gd name="T106" fmla="*/ 640 w 1758"/>
                <a:gd name="T107" fmla="*/ 1199 h 1711"/>
                <a:gd name="T108" fmla="*/ 239 w 1758"/>
                <a:gd name="T109" fmla="*/ 1345 h 1711"/>
                <a:gd name="T110" fmla="*/ 640 w 1758"/>
                <a:gd name="T111" fmla="*/ 1199 h 1711"/>
                <a:gd name="T112" fmla="*/ 623 w 1758"/>
                <a:gd name="T113" fmla="*/ 943 h 1711"/>
                <a:gd name="T114" fmla="*/ 603 w 1758"/>
                <a:gd name="T115" fmla="*/ 1085 h 1711"/>
                <a:gd name="T116" fmla="*/ 1597 w 1758"/>
                <a:gd name="T117" fmla="*/ 1063 h 1711"/>
                <a:gd name="T118" fmla="*/ 1480 w 1758"/>
                <a:gd name="T119" fmla="*/ 770 h 1711"/>
                <a:gd name="T120" fmla="*/ 1480 w 1758"/>
                <a:gd name="T121" fmla="*/ 1092 h 1711"/>
                <a:gd name="T122" fmla="*/ 1597 w 1758"/>
                <a:gd name="T123" fmla="*/ 1063 h 1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8" h="1711">
                  <a:moveTo>
                    <a:pt x="1626" y="0"/>
                  </a:moveTo>
                  <a:cubicBezTo>
                    <a:pt x="1758" y="0"/>
                    <a:pt x="1758" y="0"/>
                    <a:pt x="1758" y="0"/>
                  </a:cubicBezTo>
                  <a:cubicBezTo>
                    <a:pt x="1758" y="1398"/>
                    <a:pt x="1758" y="1398"/>
                    <a:pt x="1758" y="1398"/>
                  </a:cubicBezTo>
                  <a:cubicBezTo>
                    <a:pt x="902" y="1398"/>
                    <a:pt x="902" y="1398"/>
                    <a:pt x="902" y="1398"/>
                  </a:cubicBezTo>
                  <a:cubicBezTo>
                    <a:pt x="904" y="1350"/>
                    <a:pt x="893" y="1310"/>
                    <a:pt x="868" y="1273"/>
                  </a:cubicBezTo>
                  <a:cubicBezTo>
                    <a:pt x="887" y="1276"/>
                    <a:pt x="907" y="1280"/>
                    <a:pt x="929" y="1286"/>
                  </a:cubicBezTo>
                  <a:cubicBezTo>
                    <a:pt x="917" y="1211"/>
                    <a:pt x="890" y="1164"/>
                    <a:pt x="841" y="1127"/>
                  </a:cubicBezTo>
                  <a:cubicBezTo>
                    <a:pt x="860" y="1123"/>
                    <a:pt x="880" y="1120"/>
                    <a:pt x="904" y="1117"/>
                  </a:cubicBezTo>
                  <a:cubicBezTo>
                    <a:pt x="870" y="1055"/>
                    <a:pt x="827" y="1018"/>
                    <a:pt x="767" y="998"/>
                  </a:cubicBezTo>
                  <a:cubicBezTo>
                    <a:pt x="783" y="989"/>
                    <a:pt x="802" y="979"/>
                    <a:pt x="823" y="968"/>
                  </a:cubicBezTo>
                  <a:cubicBezTo>
                    <a:pt x="780" y="926"/>
                    <a:pt x="725" y="900"/>
                    <a:pt x="653" y="903"/>
                  </a:cubicBezTo>
                  <a:cubicBezTo>
                    <a:pt x="665" y="889"/>
                    <a:pt x="679" y="873"/>
                    <a:pt x="696" y="855"/>
                  </a:cubicBezTo>
                  <a:cubicBezTo>
                    <a:pt x="664" y="841"/>
                    <a:pt x="626" y="833"/>
                    <a:pt x="584" y="836"/>
                  </a:cubicBezTo>
                  <a:cubicBezTo>
                    <a:pt x="584" y="504"/>
                    <a:pt x="584" y="504"/>
                    <a:pt x="584" y="504"/>
                  </a:cubicBezTo>
                  <a:cubicBezTo>
                    <a:pt x="932" y="708"/>
                    <a:pt x="932" y="708"/>
                    <a:pt x="932" y="708"/>
                  </a:cubicBezTo>
                  <a:cubicBezTo>
                    <a:pt x="932" y="504"/>
                    <a:pt x="932" y="504"/>
                    <a:pt x="932" y="504"/>
                  </a:cubicBezTo>
                  <a:cubicBezTo>
                    <a:pt x="1279" y="708"/>
                    <a:pt x="1279" y="708"/>
                    <a:pt x="1279" y="708"/>
                  </a:cubicBezTo>
                  <a:cubicBezTo>
                    <a:pt x="1279" y="504"/>
                    <a:pt x="1279" y="504"/>
                    <a:pt x="1279" y="504"/>
                  </a:cubicBezTo>
                  <a:cubicBezTo>
                    <a:pt x="1626" y="708"/>
                    <a:pt x="1626" y="708"/>
                    <a:pt x="1626" y="708"/>
                  </a:cubicBezTo>
                  <a:lnTo>
                    <a:pt x="1626" y="0"/>
                  </a:lnTo>
                  <a:close/>
                  <a:moveTo>
                    <a:pt x="627" y="1109"/>
                  </a:moveTo>
                  <a:cubicBezTo>
                    <a:pt x="664" y="1074"/>
                    <a:pt x="699" y="1042"/>
                    <a:pt x="725" y="1025"/>
                  </a:cubicBezTo>
                  <a:cubicBezTo>
                    <a:pt x="776" y="1034"/>
                    <a:pt x="818" y="1057"/>
                    <a:pt x="840" y="1088"/>
                  </a:cubicBezTo>
                  <a:cubicBezTo>
                    <a:pt x="794" y="1094"/>
                    <a:pt x="721" y="1122"/>
                    <a:pt x="657" y="1152"/>
                  </a:cubicBezTo>
                  <a:cubicBezTo>
                    <a:pt x="649" y="1136"/>
                    <a:pt x="638" y="1122"/>
                    <a:pt x="627" y="1109"/>
                  </a:cubicBezTo>
                  <a:moveTo>
                    <a:pt x="671" y="1183"/>
                  </a:moveTo>
                  <a:cubicBezTo>
                    <a:pt x="718" y="1162"/>
                    <a:pt x="762" y="1145"/>
                    <a:pt x="792" y="1138"/>
                  </a:cubicBezTo>
                  <a:cubicBezTo>
                    <a:pt x="838" y="1163"/>
                    <a:pt x="869" y="1200"/>
                    <a:pt x="879" y="1236"/>
                  </a:cubicBezTo>
                  <a:cubicBezTo>
                    <a:pt x="834" y="1226"/>
                    <a:pt x="755" y="1228"/>
                    <a:pt x="685" y="1234"/>
                  </a:cubicBezTo>
                  <a:cubicBezTo>
                    <a:pt x="683" y="1218"/>
                    <a:pt x="679" y="1203"/>
                    <a:pt x="673" y="1187"/>
                  </a:cubicBezTo>
                  <a:lnTo>
                    <a:pt x="671" y="1183"/>
                  </a:lnTo>
                  <a:close/>
                  <a:moveTo>
                    <a:pt x="688" y="1268"/>
                  </a:moveTo>
                  <a:cubicBezTo>
                    <a:pt x="739" y="1264"/>
                    <a:pt x="786" y="1263"/>
                    <a:pt x="817" y="1266"/>
                  </a:cubicBezTo>
                  <a:cubicBezTo>
                    <a:pt x="851" y="1306"/>
                    <a:pt x="868" y="1351"/>
                    <a:pt x="864" y="1389"/>
                  </a:cubicBezTo>
                  <a:cubicBezTo>
                    <a:pt x="826" y="1364"/>
                    <a:pt x="751" y="1338"/>
                    <a:pt x="683" y="1320"/>
                  </a:cubicBezTo>
                  <a:cubicBezTo>
                    <a:pt x="687" y="1303"/>
                    <a:pt x="688" y="1286"/>
                    <a:pt x="688" y="1268"/>
                  </a:cubicBezTo>
                  <a:moveTo>
                    <a:pt x="675" y="1353"/>
                  </a:moveTo>
                  <a:cubicBezTo>
                    <a:pt x="723" y="1367"/>
                    <a:pt x="769" y="1382"/>
                    <a:pt x="796" y="1396"/>
                  </a:cubicBezTo>
                  <a:cubicBezTo>
                    <a:pt x="814" y="1445"/>
                    <a:pt x="815" y="1493"/>
                    <a:pt x="799" y="1527"/>
                  </a:cubicBezTo>
                  <a:cubicBezTo>
                    <a:pt x="772" y="1490"/>
                    <a:pt x="710" y="1441"/>
                    <a:pt x="652" y="1401"/>
                  </a:cubicBezTo>
                  <a:cubicBezTo>
                    <a:pt x="661" y="1386"/>
                    <a:pt x="669" y="1370"/>
                    <a:pt x="675" y="1353"/>
                  </a:cubicBezTo>
                  <a:moveTo>
                    <a:pt x="633" y="1429"/>
                  </a:moveTo>
                  <a:cubicBezTo>
                    <a:pt x="674" y="1458"/>
                    <a:pt x="711" y="1488"/>
                    <a:pt x="732" y="1510"/>
                  </a:cubicBezTo>
                  <a:cubicBezTo>
                    <a:pt x="733" y="1563"/>
                    <a:pt x="717" y="1608"/>
                    <a:pt x="690" y="1635"/>
                  </a:cubicBezTo>
                  <a:cubicBezTo>
                    <a:pt x="677" y="1591"/>
                    <a:pt x="636" y="1523"/>
                    <a:pt x="596" y="1466"/>
                  </a:cubicBezTo>
                  <a:cubicBezTo>
                    <a:pt x="610" y="1455"/>
                    <a:pt x="622" y="1442"/>
                    <a:pt x="633" y="1429"/>
                  </a:cubicBezTo>
                  <a:moveTo>
                    <a:pt x="568" y="1486"/>
                  </a:moveTo>
                  <a:cubicBezTo>
                    <a:pt x="596" y="1527"/>
                    <a:pt x="621" y="1568"/>
                    <a:pt x="633" y="1596"/>
                  </a:cubicBezTo>
                  <a:cubicBezTo>
                    <a:pt x="616" y="1645"/>
                    <a:pt x="586" y="1683"/>
                    <a:pt x="551" y="1699"/>
                  </a:cubicBezTo>
                  <a:cubicBezTo>
                    <a:pt x="554" y="1653"/>
                    <a:pt x="538" y="1575"/>
                    <a:pt x="520" y="1508"/>
                  </a:cubicBezTo>
                  <a:cubicBezTo>
                    <a:pt x="540" y="1500"/>
                    <a:pt x="554" y="1494"/>
                    <a:pt x="568" y="1486"/>
                  </a:cubicBezTo>
                  <a:moveTo>
                    <a:pt x="487" y="1516"/>
                  </a:moveTo>
                  <a:cubicBezTo>
                    <a:pt x="499" y="1566"/>
                    <a:pt x="509" y="1613"/>
                    <a:pt x="511" y="1643"/>
                  </a:cubicBezTo>
                  <a:cubicBezTo>
                    <a:pt x="478" y="1683"/>
                    <a:pt x="437" y="1708"/>
                    <a:pt x="399" y="1711"/>
                  </a:cubicBezTo>
                  <a:cubicBezTo>
                    <a:pt x="417" y="1669"/>
                    <a:pt x="429" y="1591"/>
                    <a:pt x="435" y="1521"/>
                  </a:cubicBezTo>
                  <a:cubicBezTo>
                    <a:pt x="452" y="1521"/>
                    <a:pt x="470" y="1520"/>
                    <a:pt x="487" y="1516"/>
                  </a:cubicBezTo>
                  <a:moveTo>
                    <a:pt x="401" y="1518"/>
                  </a:moveTo>
                  <a:cubicBezTo>
                    <a:pt x="395" y="1568"/>
                    <a:pt x="388" y="1616"/>
                    <a:pt x="380" y="1645"/>
                  </a:cubicBezTo>
                  <a:cubicBezTo>
                    <a:pt x="335" y="1672"/>
                    <a:pt x="288" y="1681"/>
                    <a:pt x="251" y="1671"/>
                  </a:cubicBezTo>
                  <a:cubicBezTo>
                    <a:pt x="282" y="1637"/>
                    <a:pt x="321" y="1568"/>
                    <a:pt x="350" y="1504"/>
                  </a:cubicBezTo>
                  <a:cubicBezTo>
                    <a:pt x="366" y="1511"/>
                    <a:pt x="383" y="1515"/>
                    <a:pt x="401" y="1518"/>
                  </a:cubicBezTo>
                  <a:moveTo>
                    <a:pt x="319" y="1490"/>
                  </a:moveTo>
                  <a:cubicBezTo>
                    <a:pt x="297" y="1535"/>
                    <a:pt x="274" y="1577"/>
                    <a:pt x="256" y="1602"/>
                  </a:cubicBezTo>
                  <a:cubicBezTo>
                    <a:pt x="205" y="1612"/>
                    <a:pt x="157" y="1604"/>
                    <a:pt x="126" y="1582"/>
                  </a:cubicBezTo>
                  <a:cubicBezTo>
                    <a:pt x="167" y="1561"/>
                    <a:pt x="227" y="1509"/>
                    <a:pt x="276" y="1460"/>
                  </a:cubicBezTo>
                  <a:cubicBezTo>
                    <a:pt x="289" y="1471"/>
                    <a:pt x="304" y="1481"/>
                    <a:pt x="319" y="1490"/>
                  </a:cubicBezTo>
                  <a:moveTo>
                    <a:pt x="252" y="1435"/>
                  </a:moveTo>
                  <a:cubicBezTo>
                    <a:pt x="215" y="1471"/>
                    <a:pt x="180" y="1502"/>
                    <a:pt x="154" y="1519"/>
                  </a:cubicBezTo>
                  <a:cubicBezTo>
                    <a:pt x="103" y="1511"/>
                    <a:pt x="61" y="1488"/>
                    <a:pt x="39" y="1456"/>
                  </a:cubicBezTo>
                  <a:cubicBezTo>
                    <a:pt x="85" y="1451"/>
                    <a:pt x="158" y="1422"/>
                    <a:pt x="222" y="1393"/>
                  </a:cubicBezTo>
                  <a:cubicBezTo>
                    <a:pt x="231" y="1408"/>
                    <a:pt x="241" y="1422"/>
                    <a:pt x="252" y="1435"/>
                  </a:cubicBezTo>
                  <a:moveTo>
                    <a:pt x="208" y="1361"/>
                  </a:moveTo>
                  <a:cubicBezTo>
                    <a:pt x="161" y="1382"/>
                    <a:pt x="117" y="1400"/>
                    <a:pt x="87" y="1407"/>
                  </a:cubicBezTo>
                  <a:cubicBezTo>
                    <a:pt x="41" y="1381"/>
                    <a:pt x="10" y="1345"/>
                    <a:pt x="0" y="1308"/>
                  </a:cubicBezTo>
                  <a:cubicBezTo>
                    <a:pt x="45" y="1319"/>
                    <a:pt x="124" y="1317"/>
                    <a:pt x="194" y="1311"/>
                  </a:cubicBezTo>
                  <a:cubicBezTo>
                    <a:pt x="196" y="1327"/>
                    <a:pt x="200" y="1342"/>
                    <a:pt x="206" y="1357"/>
                  </a:cubicBezTo>
                  <a:lnTo>
                    <a:pt x="208" y="1361"/>
                  </a:lnTo>
                  <a:close/>
                  <a:moveTo>
                    <a:pt x="191" y="1277"/>
                  </a:moveTo>
                  <a:cubicBezTo>
                    <a:pt x="140" y="1280"/>
                    <a:pt x="92" y="1281"/>
                    <a:pt x="62" y="1278"/>
                  </a:cubicBezTo>
                  <a:cubicBezTo>
                    <a:pt x="28" y="1239"/>
                    <a:pt x="11" y="1194"/>
                    <a:pt x="15" y="1156"/>
                  </a:cubicBezTo>
                  <a:cubicBezTo>
                    <a:pt x="53" y="1181"/>
                    <a:pt x="128" y="1207"/>
                    <a:pt x="196" y="1225"/>
                  </a:cubicBezTo>
                  <a:cubicBezTo>
                    <a:pt x="192" y="1242"/>
                    <a:pt x="191" y="1259"/>
                    <a:pt x="191" y="1277"/>
                  </a:cubicBezTo>
                  <a:moveTo>
                    <a:pt x="204" y="1191"/>
                  </a:moveTo>
                  <a:cubicBezTo>
                    <a:pt x="156" y="1178"/>
                    <a:pt x="110" y="1162"/>
                    <a:pt x="83" y="1149"/>
                  </a:cubicBezTo>
                  <a:cubicBezTo>
                    <a:pt x="65" y="1100"/>
                    <a:pt x="64" y="1052"/>
                    <a:pt x="80" y="1018"/>
                  </a:cubicBezTo>
                  <a:cubicBezTo>
                    <a:pt x="107" y="1054"/>
                    <a:pt x="169" y="1104"/>
                    <a:pt x="226" y="1144"/>
                  </a:cubicBezTo>
                  <a:cubicBezTo>
                    <a:pt x="218" y="1159"/>
                    <a:pt x="210" y="1175"/>
                    <a:pt x="204" y="1191"/>
                  </a:cubicBezTo>
                  <a:moveTo>
                    <a:pt x="246" y="1116"/>
                  </a:moveTo>
                  <a:cubicBezTo>
                    <a:pt x="205" y="1086"/>
                    <a:pt x="168" y="1056"/>
                    <a:pt x="147" y="1034"/>
                  </a:cubicBezTo>
                  <a:cubicBezTo>
                    <a:pt x="146" y="982"/>
                    <a:pt x="162" y="937"/>
                    <a:pt x="189" y="910"/>
                  </a:cubicBezTo>
                  <a:cubicBezTo>
                    <a:pt x="202" y="954"/>
                    <a:pt x="243" y="1021"/>
                    <a:pt x="283" y="1079"/>
                  </a:cubicBezTo>
                  <a:cubicBezTo>
                    <a:pt x="270" y="1090"/>
                    <a:pt x="257" y="1102"/>
                    <a:pt x="246" y="1116"/>
                  </a:cubicBezTo>
                  <a:moveTo>
                    <a:pt x="311" y="1059"/>
                  </a:moveTo>
                  <a:cubicBezTo>
                    <a:pt x="283" y="1017"/>
                    <a:pt x="258" y="976"/>
                    <a:pt x="246" y="948"/>
                  </a:cubicBezTo>
                  <a:cubicBezTo>
                    <a:pt x="263" y="899"/>
                    <a:pt x="293" y="862"/>
                    <a:pt x="328" y="846"/>
                  </a:cubicBezTo>
                  <a:cubicBezTo>
                    <a:pt x="325" y="892"/>
                    <a:pt x="341" y="969"/>
                    <a:pt x="359" y="1037"/>
                  </a:cubicBezTo>
                  <a:cubicBezTo>
                    <a:pt x="339" y="1044"/>
                    <a:pt x="325" y="1051"/>
                    <a:pt x="311" y="1059"/>
                  </a:cubicBezTo>
                  <a:moveTo>
                    <a:pt x="392" y="1028"/>
                  </a:moveTo>
                  <a:cubicBezTo>
                    <a:pt x="380" y="979"/>
                    <a:pt x="370" y="932"/>
                    <a:pt x="368" y="902"/>
                  </a:cubicBezTo>
                  <a:cubicBezTo>
                    <a:pt x="401" y="861"/>
                    <a:pt x="442" y="837"/>
                    <a:pt x="480" y="834"/>
                  </a:cubicBezTo>
                  <a:cubicBezTo>
                    <a:pt x="462" y="876"/>
                    <a:pt x="450" y="954"/>
                    <a:pt x="444" y="1024"/>
                  </a:cubicBezTo>
                  <a:cubicBezTo>
                    <a:pt x="427" y="1023"/>
                    <a:pt x="409" y="1025"/>
                    <a:pt x="392" y="1028"/>
                  </a:cubicBezTo>
                  <a:moveTo>
                    <a:pt x="478" y="1027"/>
                  </a:moveTo>
                  <a:cubicBezTo>
                    <a:pt x="484" y="976"/>
                    <a:pt x="491" y="929"/>
                    <a:pt x="499" y="900"/>
                  </a:cubicBezTo>
                  <a:cubicBezTo>
                    <a:pt x="544" y="873"/>
                    <a:pt x="591" y="864"/>
                    <a:pt x="628" y="874"/>
                  </a:cubicBezTo>
                  <a:cubicBezTo>
                    <a:pt x="597" y="907"/>
                    <a:pt x="558" y="977"/>
                    <a:pt x="529" y="1040"/>
                  </a:cubicBezTo>
                  <a:cubicBezTo>
                    <a:pt x="513" y="1034"/>
                    <a:pt x="496" y="1030"/>
                    <a:pt x="478" y="1027"/>
                  </a:cubicBezTo>
                  <a:moveTo>
                    <a:pt x="640" y="1199"/>
                  </a:moveTo>
                  <a:cubicBezTo>
                    <a:pt x="600" y="1088"/>
                    <a:pt x="477" y="1031"/>
                    <a:pt x="366" y="1071"/>
                  </a:cubicBezTo>
                  <a:cubicBezTo>
                    <a:pt x="255" y="1112"/>
                    <a:pt x="198" y="1234"/>
                    <a:pt x="239" y="1345"/>
                  </a:cubicBezTo>
                  <a:cubicBezTo>
                    <a:pt x="279" y="1456"/>
                    <a:pt x="402" y="1514"/>
                    <a:pt x="513" y="1473"/>
                  </a:cubicBezTo>
                  <a:cubicBezTo>
                    <a:pt x="624" y="1433"/>
                    <a:pt x="681" y="1310"/>
                    <a:pt x="640" y="1199"/>
                  </a:cubicBezTo>
                  <a:moveTo>
                    <a:pt x="560" y="1055"/>
                  </a:moveTo>
                  <a:cubicBezTo>
                    <a:pt x="582" y="1009"/>
                    <a:pt x="605" y="967"/>
                    <a:pt x="623" y="943"/>
                  </a:cubicBezTo>
                  <a:cubicBezTo>
                    <a:pt x="674" y="933"/>
                    <a:pt x="722" y="941"/>
                    <a:pt x="753" y="963"/>
                  </a:cubicBezTo>
                  <a:cubicBezTo>
                    <a:pt x="712" y="983"/>
                    <a:pt x="652" y="1035"/>
                    <a:pt x="603" y="1085"/>
                  </a:cubicBezTo>
                  <a:cubicBezTo>
                    <a:pt x="589" y="1073"/>
                    <a:pt x="575" y="1063"/>
                    <a:pt x="560" y="1055"/>
                  </a:cubicBezTo>
                  <a:moveTo>
                    <a:pt x="1597" y="1063"/>
                  </a:moveTo>
                  <a:cubicBezTo>
                    <a:pt x="1450" y="975"/>
                    <a:pt x="1450" y="975"/>
                    <a:pt x="1450" y="975"/>
                  </a:cubicBezTo>
                  <a:cubicBezTo>
                    <a:pt x="1480" y="770"/>
                    <a:pt x="1480" y="770"/>
                    <a:pt x="1480" y="770"/>
                  </a:cubicBezTo>
                  <a:cubicBezTo>
                    <a:pt x="1333" y="1004"/>
                    <a:pt x="1333" y="1004"/>
                    <a:pt x="1333" y="1004"/>
                  </a:cubicBezTo>
                  <a:cubicBezTo>
                    <a:pt x="1480" y="1092"/>
                    <a:pt x="1480" y="1092"/>
                    <a:pt x="1480" y="1092"/>
                  </a:cubicBezTo>
                  <a:cubicBezTo>
                    <a:pt x="1450" y="1297"/>
                    <a:pt x="1450" y="1297"/>
                    <a:pt x="1450" y="1297"/>
                  </a:cubicBezTo>
                  <a:lnTo>
                    <a:pt x="1597" y="106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hteck 78">
              <a:extLst>
                <a:ext uri="{FF2B5EF4-FFF2-40B4-BE49-F238E27FC236}">
                  <a16:creationId xmlns:a16="http://schemas.microsoft.com/office/drawing/2014/main" id="{C94DC23C-0CA9-4794-8B63-8807FCA536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07" y="414406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Local Power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71A2BCE-D2D3-4BD5-BE81-AB9DE54993FE}"/>
              </a:ext>
            </a:extLst>
          </p:cNvPr>
          <p:cNvGrpSpPr/>
          <p:nvPr/>
        </p:nvGrpSpPr>
        <p:grpSpPr>
          <a:xfrm>
            <a:off x="7100917" y="1703271"/>
            <a:ext cx="4619684" cy="4113082"/>
            <a:chOff x="7100917" y="1703271"/>
            <a:chExt cx="4619684" cy="4113082"/>
          </a:xfrm>
        </p:grpSpPr>
        <p:sp>
          <p:nvSpPr>
            <p:cNvPr id="66" name="Rechteck 79">
              <a:extLst>
                <a:ext uri="{FF2B5EF4-FFF2-40B4-BE49-F238E27FC236}">
                  <a16:creationId xmlns:a16="http://schemas.microsoft.com/office/drawing/2014/main" id="{E502F345-F2FA-4958-936A-17DB7E291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0876" y="2784851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Smart Factory</a:t>
              </a:r>
            </a:p>
          </p:txBody>
        </p:sp>
        <p:sp>
          <p:nvSpPr>
            <p:cNvPr id="67" name="Rechteck 82">
              <a:extLst>
                <a:ext uri="{FF2B5EF4-FFF2-40B4-BE49-F238E27FC236}">
                  <a16:creationId xmlns:a16="http://schemas.microsoft.com/office/drawing/2014/main" id="{6B6D1678-4CEB-4B55-8AEF-FB2C6D36E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9344" y="5095291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 Intelligent Healthcare</a:t>
              </a:r>
            </a:p>
          </p:txBody>
        </p:sp>
        <p:cxnSp>
          <p:nvCxnSpPr>
            <p:cNvPr id="68" name="Gerade Verbindung 251">
              <a:extLst>
                <a:ext uri="{FF2B5EF4-FFF2-40B4-BE49-F238E27FC236}">
                  <a16:creationId xmlns:a16="http://schemas.microsoft.com/office/drawing/2014/main" id="{2DC3686A-D490-41FA-B090-950FC75A5CA2}"/>
                </a:ext>
              </a:extLst>
            </p:cNvPr>
            <p:cNvCxnSpPr/>
            <p:nvPr/>
          </p:nvCxnSpPr>
          <p:spPr bwMode="gray">
            <a:xfrm flipH="1">
              <a:off x="8243969" y="3103395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254">
              <a:extLst>
                <a:ext uri="{FF2B5EF4-FFF2-40B4-BE49-F238E27FC236}">
                  <a16:creationId xmlns:a16="http://schemas.microsoft.com/office/drawing/2014/main" id="{A2A34953-C13D-440A-B4C3-5BD62DDFF818}"/>
                </a:ext>
              </a:extLst>
            </p:cNvPr>
            <p:cNvCxnSpPr/>
            <p:nvPr/>
          </p:nvCxnSpPr>
          <p:spPr bwMode="gray">
            <a:xfrm flipH="1">
              <a:off x="8243969" y="4455161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0" name="Gruppieren 36">
              <a:extLst>
                <a:ext uri="{FF2B5EF4-FFF2-40B4-BE49-F238E27FC236}">
                  <a16:creationId xmlns:a16="http://schemas.microsoft.com/office/drawing/2014/main" id="{36F4F92F-607C-4C6B-B0A8-E27AD33E1B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>
              <a:off x="7290517" y="2150337"/>
              <a:ext cx="4425233" cy="3263454"/>
              <a:chOff x="7225157" y="2150337"/>
              <a:chExt cx="4490594" cy="3263454"/>
            </a:xfrm>
          </p:grpSpPr>
          <p:cxnSp>
            <p:nvCxnSpPr>
              <p:cNvPr id="123" name="Gerade Verbindung 248">
                <a:extLst>
                  <a:ext uri="{FF2B5EF4-FFF2-40B4-BE49-F238E27FC236}">
                    <a16:creationId xmlns:a16="http://schemas.microsoft.com/office/drawing/2014/main" id="{0DAB03F8-FBFC-48CA-B141-8CE658CE9471}"/>
                  </a:ext>
                </a:extLst>
              </p:cNvPr>
              <p:cNvCxnSpPr/>
              <p:nvPr/>
            </p:nvCxnSpPr>
            <p:spPr bwMode="gray">
              <a:xfrm flipH="1">
                <a:off x="7225157" y="2150337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4" name="Gerade Verbindung 255">
                <a:extLst>
                  <a:ext uri="{FF2B5EF4-FFF2-40B4-BE49-F238E27FC236}">
                    <a16:creationId xmlns:a16="http://schemas.microsoft.com/office/drawing/2014/main" id="{668D67D5-A5FA-4C54-9E44-E8C8338015E9}"/>
                  </a:ext>
                </a:extLst>
              </p:cNvPr>
              <p:cNvCxnSpPr/>
              <p:nvPr/>
            </p:nvCxnSpPr>
            <p:spPr bwMode="gray">
              <a:xfrm flipH="1">
                <a:off x="7225157" y="5413791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71" name="Rechteck 80">
              <a:extLst>
                <a:ext uri="{FF2B5EF4-FFF2-40B4-BE49-F238E27FC236}">
                  <a16:creationId xmlns:a16="http://schemas.microsoft.com/office/drawing/2014/main" id="{346BD6C4-2D04-4BB4-85EA-27E16ADE1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3" y="184795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Intelligent Traffic</a:t>
              </a:r>
            </a:p>
          </p:txBody>
        </p:sp>
        <p:sp>
          <p:nvSpPr>
            <p:cNvPr id="72" name="Rechteck 81">
              <a:extLst>
                <a:ext uri="{FF2B5EF4-FFF2-40B4-BE49-F238E27FC236}">
                  <a16:creationId xmlns:a16="http://schemas.microsoft.com/office/drawing/2014/main" id="{A095CD31-7171-4892-8D96-29301C744667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5" y="4162387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Smart Building</a:t>
              </a:r>
            </a:p>
          </p:txBody>
        </p:sp>
        <p:sp>
          <p:nvSpPr>
            <p:cNvPr id="73" name="Freihandform 16">
              <a:extLst>
                <a:ext uri="{FF2B5EF4-FFF2-40B4-BE49-F238E27FC236}">
                  <a16:creationId xmlns:a16="http://schemas.microsoft.com/office/drawing/2014/main" id="{D51DD373-E250-47F8-8A5D-B9F0FC31BB11}"/>
                </a:ext>
              </a:extLst>
            </p:cNvPr>
            <p:cNvSpPr/>
            <p:nvPr/>
          </p:nvSpPr>
          <p:spPr bwMode="gray">
            <a:xfrm rot="20239983">
              <a:off x="7100917" y="170327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74" name="Freihandform 22">
              <a:extLst>
                <a:ext uri="{FF2B5EF4-FFF2-40B4-BE49-F238E27FC236}">
                  <a16:creationId xmlns:a16="http://schemas.microsoft.com/office/drawing/2014/main" id="{84B22D73-8488-4B84-AF6C-1FD8F1B22B25}"/>
                </a:ext>
              </a:extLst>
            </p:cNvPr>
            <p:cNvSpPr/>
            <p:nvPr/>
          </p:nvSpPr>
          <p:spPr bwMode="gray">
            <a:xfrm rot="20239983">
              <a:off x="8055519" y="400194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grpSp>
          <p:nvGrpSpPr>
            <p:cNvPr id="75" name="Gruppieren 137">
              <a:extLst>
                <a:ext uri="{FF2B5EF4-FFF2-40B4-BE49-F238E27FC236}">
                  <a16:creationId xmlns:a16="http://schemas.microsoft.com/office/drawing/2014/main" id="{782FF1A1-DFC8-426E-BE7F-E1A4AA3703B3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 bwMode="gray">
            <a:xfrm>
              <a:off x="7253817" y="1942176"/>
              <a:ext cx="594448" cy="475784"/>
              <a:chOff x="10670726" y="4894391"/>
              <a:chExt cx="856292" cy="685358"/>
            </a:xfrm>
            <a:solidFill>
              <a:srgbClr val="505A64"/>
            </a:solidFill>
          </p:grpSpPr>
          <p:grpSp>
            <p:nvGrpSpPr>
              <p:cNvPr id="116" name="Gruppieren 138">
                <a:extLst>
                  <a:ext uri="{FF2B5EF4-FFF2-40B4-BE49-F238E27FC236}">
                    <a16:creationId xmlns:a16="http://schemas.microsoft.com/office/drawing/2014/main" id="{38B140CD-5A6B-4F9F-8B2E-A1AA62C2ED79}"/>
                  </a:ext>
                </a:extLst>
              </p:cNvPr>
              <p:cNvGrpSpPr/>
              <p:nvPr/>
            </p:nvGrpSpPr>
            <p:grpSpPr bwMode="gray">
              <a:xfrm>
                <a:off x="10670726" y="4894391"/>
                <a:ext cx="856292" cy="685358"/>
                <a:chOff x="10670726" y="5057549"/>
                <a:chExt cx="856292" cy="685358"/>
              </a:xfrm>
              <a:grpFill/>
            </p:grpSpPr>
            <p:grpSp>
              <p:nvGrpSpPr>
                <p:cNvPr id="119" name="Gruppieren 141">
                  <a:extLst>
                    <a:ext uri="{FF2B5EF4-FFF2-40B4-BE49-F238E27FC236}">
                      <a16:creationId xmlns:a16="http://schemas.microsoft.com/office/drawing/2014/main" id="{A4F4B036-8FA1-4998-926C-C5845A68EE6F}"/>
                    </a:ext>
                  </a:extLst>
                </p:cNvPr>
                <p:cNvGrpSpPr/>
                <p:nvPr/>
              </p:nvGrpSpPr>
              <p:grpSpPr bwMode="gray">
                <a:xfrm>
                  <a:off x="10670726" y="5057549"/>
                  <a:ext cx="856292" cy="685358"/>
                  <a:chOff x="5933535" y="5073735"/>
                  <a:chExt cx="558000" cy="446611"/>
                </a:xfrm>
                <a:grpFill/>
              </p:grpSpPr>
              <p:sp>
                <p:nvSpPr>
                  <p:cNvPr id="121" name="Freeform 21">
                    <a:extLst>
                      <a:ext uri="{FF2B5EF4-FFF2-40B4-BE49-F238E27FC236}">
                        <a16:creationId xmlns:a16="http://schemas.microsoft.com/office/drawing/2014/main" id="{557D459B-26C0-4EE9-8503-C7920C4CE65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5933535" y="5073735"/>
                    <a:ext cx="558000" cy="446611"/>
                  </a:xfrm>
                  <a:custGeom>
                    <a:avLst/>
                    <a:gdLst>
                      <a:gd name="T0" fmla="*/ 130 w 3211"/>
                      <a:gd name="T1" fmla="*/ 129 h 2570"/>
                      <a:gd name="T2" fmla="*/ 3083 w 3211"/>
                      <a:gd name="T3" fmla="*/ 129 h 2570"/>
                      <a:gd name="T4" fmla="*/ 3083 w 3211"/>
                      <a:gd name="T5" fmla="*/ 1799 h 2570"/>
                      <a:gd name="T6" fmla="*/ 130 w 3211"/>
                      <a:gd name="T7" fmla="*/ 1799 h 2570"/>
                      <a:gd name="T8" fmla="*/ 130 w 3211"/>
                      <a:gd name="T9" fmla="*/ 129 h 2570"/>
                      <a:gd name="T10" fmla="*/ 0 w 3211"/>
                      <a:gd name="T11" fmla="*/ 0 h 2570"/>
                      <a:gd name="T12" fmla="*/ 0 w 3211"/>
                      <a:gd name="T13" fmla="*/ 2056 h 2570"/>
                      <a:gd name="T14" fmla="*/ 1215 w 3211"/>
                      <a:gd name="T15" fmla="*/ 2056 h 2570"/>
                      <a:gd name="T16" fmla="*/ 1215 w 3211"/>
                      <a:gd name="T17" fmla="*/ 2442 h 2570"/>
                      <a:gd name="T18" fmla="*/ 957 w 3211"/>
                      <a:gd name="T19" fmla="*/ 2442 h 2570"/>
                      <a:gd name="T20" fmla="*/ 957 w 3211"/>
                      <a:gd name="T21" fmla="*/ 2570 h 2570"/>
                      <a:gd name="T22" fmla="*/ 2249 w 3211"/>
                      <a:gd name="T23" fmla="*/ 2570 h 2570"/>
                      <a:gd name="T24" fmla="*/ 2249 w 3211"/>
                      <a:gd name="T25" fmla="*/ 2442 h 2570"/>
                      <a:gd name="T26" fmla="*/ 1991 w 3211"/>
                      <a:gd name="T27" fmla="*/ 2442 h 2570"/>
                      <a:gd name="T28" fmla="*/ 1991 w 3211"/>
                      <a:gd name="T29" fmla="*/ 2056 h 2570"/>
                      <a:gd name="T30" fmla="*/ 3211 w 3211"/>
                      <a:gd name="T31" fmla="*/ 2056 h 2570"/>
                      <a:gd name="T32" fmla="*/ 3211 w 3211"/>
                      <a:gd name="T33" fmla="*/ 0 h 2570"/>
                      <a:gd name="T34" fmla="*/ 0 w 3211"/>
                      <a:gd name="T35" fmla="*/ 0 h 25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11" h="2570">
                        <a:moveTo>
                          <a:pt x="130" y="129"/>
                        </a:moveTo>
                        <a:lnTo>
                          <a:pt x="3083" y="129"/>
                        </a:lnTo>
                        <a:lnTo>
                          <a:pt x="3083" y="1799"/>
                        </a:lnTo>
                        <a:lnTo>
                          <a:pt x="130" y="1799"/>
                        </a:lnTo>
                        <a:lnTo>
                          <a:pt x="130" y="129"/>
                        </a:lnTo>
                        <a:close/>
                        <a:moveTo>
                          <a:pt x="0" y="0"/>
                        </a:moveTo>
                        <a:lnTo>
                          <a:pt x="0" y="2056"/>
                        </a:lnTo>
                        <a:lnTo>
                          <a:pt x="1215" y="2056"/>
                        </a:lnTo>
                        <a:lnTo>
                          <a:pt x="1215" y="2442"/>
                        </a:lnTo>
                        <a:lnTo>
                          <a:pt x="957" y="2442"/>
                        </a:lnTo>
                        <a:lnTo>
                          <a:pt x="957" y="2570"/>
                        </a:lnTo>
                        <a:lnTo>
                          <a:pt x="2249" y="2570"/>
                        </a:lnTo>
                        <a:lnTo>
                          <a:pt x="2249" y="2442"/>
                        </a:lnTo>
                        <a:lnTo>
                          <a:pt x="1991" y="2442"/>
                        </a:lnTo>
                        <a:lnTo>
                          <a:pt x="1991" y="2056"/>
                        </a:lnTo>
                        <a:lnTo>
                          <a:pt x="3211" y="2056"/>
                        </a:lnTo>
                        <a:lnTo>
                          <a:pt x="3211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24">
                    <a:extLst>
                      <a:ext uri="{FF2B5EF4-FFF2-40B4-BE49-F238E27FC236}">
                        <a16:creationId xmlns:a16="http://schemas.microsoft.com/office/drawing/2014/main" id="{000DC034-1682-4219-BBC4-C03E4957FF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095322" y="5186517"/>
                    <a:ext cx="231298" cy="63951"/>
                  </a:xfrm>
                  <a:custGeom>
                    <a:avLst/>
                    <a:gdLst>
                      <a:gd name="T0" fmla="*/ 36 w 1331"/>
                      <a:gd name="T1" fmla="*/ 368 h 368"/>
                      <a:gd name="T2" fmla="*/ 0 w 1331"/>
                      <a:gd name="T3" fmla="*/ 368 h 368"/>
                      <a:gd name="T4" fmla="*/ 0 w 1331"/>
                      <a:gd name="T5" fmla="*/ 0 h 368"/>
                      <a:gd name="T6" fmla="*/ 1331 w 1331"/>
                      <a:gd name="T7" fmla="*/ 0 h 368"/>
                      <a:gd name="T8" fmla="*/ 1331 w 1331"/>
                      <a:gd name="T9" fmla="*/ 125 h 368"/>
                      <a:gd name="T10" fmla="*/ 1294 w 1331"/>
                      <a:gd name="T11" fmla="*/ 125 h 368"/>
                      <a:gd name="T12" fmla="*/ 1294 w 1331"/>
                      <a:gd name="T13" fmla="*/ 38 h 368"/>
                      <a:gd name="T14" fmla="*/ 36 w 1331"/>
                      <a:gd name="T15" fmla="*/ 38 h 368"/>
                      <a:gd name="T16" fmla="*/ 36 w 1331"/>
                      <a:gd name="T17" fmla="*/ 368 h 3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31" h="368">
                        <a:moveTo>
                          <a:pt x="36" y="368"/>
                        </a:moveTo>
                        <a:lnTo>
                          <a:pt x="0" y="368"/>
                        </a:lnTo>
                        <a:lnTo>
                          <a:pt x="0" y="0"/>
                        </a:lnTo>
                        <a:lnTo>
                          <a:pt x="1331" y="0"/>
                        </a:lnTo>
                        <a:lnTo>
                          <a:pt x="1331" y="125"/>
                        </a:lnTo>
                        <a:lnTo>
                          <a:pt x="1294" y="125"/>
                        </a:lnTo>
                        <a:lnTo>
                          <a:pt x="1294" y="38"/>
                        </a:lnTo>
                        <a:lnTo>
                          <a:pt x="36" y="38"/>
                        </a:lnTo>
                        <a:lnTo>
                          <a:pt x="36" y="3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0" name="Freeform 23">
                  <a:extLst>
                    <a:ext uri="{FF2B5EF4-FFF2-40B4-BE49-F238E27FC236}">
                      <a16:creationId xmlns:a16="http://schemas.microsoft.com/office/drawing/2014/main" id="{27CE7CF0-838C-4E6A-9265-D5BBE8A56D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61403" y="5122885"/>
                  <a:ext cx="84802" cy="87469"/>
                </a:xfrm>
                <a:custGeom>
                  <a:avLst/>
                  <a:gdLst>
                    <a:gd name="T0" fmla="*/ 138 w 318"/>
                    <a:gd name="T1" fmla="*/ 1 h 328"/>
                    <a:gd name="T2" fmla="*/ 88 w 318"/>
                    <a:gd name="T3" fmla="*/ 13 h 328"/>
                    <a:gd name="T4" fmla="*/ 47 w 318"/>
                    <a:gd name="T5" fmla="*/ 40 h 328"/>
                    <a:gd name="T6" fmla="*/ 35 w 318"/>
                    <a:gd name="T7" fmla="*/ 53 h 328"/>
                    <a:gd name="T8" fmla="*/ 32 w 318"/>
                    <a:gd name="T9" fmla="*/ 72 h 328"/>
                    <a:gd name="T10" fmla="*/ 11 w 318"/>
                    <a:gd name="T11" fmla="*/ 108 h 328"/>
                    <a:gd name="T12" fmla="*/ 1 w 318"/>
                    <a:gd name="T13" fmla="*/ 150 h 328"/>
                    <a:gd name="T14" fmla="*/ 1 w 318"/>
                    <a:gd name="T15" fmla="*/ 177 h 328"/>
                    <a:gd name="T16" fmla="*/ 8 w 318"/>
                    <a:gd name="T17" fmla="*/ 214 h 328"/>
                    <a:gd name="T18" fmla="*/ 25 w 318"/>
                    <a:gd name="T19" fmla="*/ 248 h 328"/>
                    <a:gd name="T20" fmla="*/ 43 w 318"/>
                    <a:gd name="T21" fmla="*/ 250 h 328"/>
                    <a:gd name="T22" fmla="*/ 25 w 318"/>
                    <a:gd name="T23" fmla="*/ 221 h 328"/>
                    <a:gd name="T24" fmla="*/ 15 w 318"/>
                    <a:gd name="T25" fmla="*/ 187 h 328"/>
                    <a:gd name="T26" fmla="*/ 13 w 318"/>
                    <a:gd name="T27" fmla="*/ 165 h 328"/>
                    <a:gd name="T28" fmla="*/ 19 w 318"/>
                    <a:gd name="T29" fmla="*/ 126 h 328"/>
                    <a:gd name="T30" fmla="*/ 35 w 318"/>
                    <a:gd name="T31" fmla="*/ 91 h 328"/>
                    <a:gd name="T32" fmla="*/ 135 w 318"/>
                    <a:gd name="T33" fmla="*/ 178 h 328"/>
                    <a:gd name="T34" fmla="*/ 82 w 318"/>
                    <a:gd name="T35" fmla="*/ 56 h 328"/>
                    <a:gd name="T36" fmla="*/ 135 w 318"/>
                    <a:gd name="T37" fmla="*/ 36 h 328"/>
                    <a:gd name="T38" fmla="*/ 167 w 318"/>
                    <a:gd name="T39" fmla="*/ 35 h 328"/>
                    <a:gd name="T40" fmla="*/ 205 w 318"/>
                    <a:gd name="T41" fmla="*/ 44 h 328"/>
                    <a:gd name="T42" fmla="*/ 237 w 318"/>
                    <a:gd name="T43" fmla="*/ 64 h 328"/>
                    <a:gd name="T44" fmla="*/ 262 w 318"/>
                    <a:gd name="T45" fmla="*/ 91 h 328"/>
                    <a:gd name="T46" fmla="*/ 278 w 318"/>
                    <a:gd name="T47" fmla="*/ 126 h 328"/>
                    <a:gd name="T48" fmla="*/ 285 w 318"/>
                    <a:gd name="T49" fmla="*/ 165 h 328"/>
                    <a:gd name="T50" fmla="*/ 282 w 318"/>
                    <a:gd name="T51" fmla="*/ 190 h 328"/>
                    <a:gd name="T52" fmla="*/ 269 w 318"/>
                    <a:gd name="T53" fmla="*/ 226 h 328"/>
                    <a:gd name="T54" fmla="*/ 246 w 318"/>
                    <a:gd name="T55" fmla="*/ 256 h 328"/>
                    <a:gd name="T56" fmla="*/ 217 w 318"/>
                    <a:gd name="T57" fmla="*/ 278 h 328"/>
                    <a:gd name="T58" fmla="*/ 181 w 318"/>
                    <a:gd name="T59" fmla="*/ 290 h 328"/>
                    <a:gd name="T60" fmla="*/ 154 w 318"/>
                    <a:gd name="T61" fmla="*/ 293 h 328"/>
                    <a:gd name="T62" fmla="*/ 112 w 318"/>
                    <a:gd name="T63" fmla="*/ 286 h 328"/>
                    <a:gd name="T64" fmla="*/ 84 w 318"/>
                    <a:gd name="T65" fmla="*/ 312 h 328"/>
                    <a:gd name="T66" fmla="*/ 136 w 318"/>
                    <a:gd name="T67" fmla="*/ 327 h 328"/>
                    <a:gd name="T68" fmla="*/ 171 w 318"/>
                    <a:gd name="T69" fmla="*/ 327 h 328"/>
                    <a:gd name="T70" fmla="*/ 218 w 318"/>
                    <a:gd name="T71" fmla="*/ 315 h 328"/>
                    <a:gd name="T72" fmla="*/ 258 w 318"/>
                    <a:gd name="T73" fmla="*/ 290 h 328"/>
                    <a:gd name="T74" fmla="*/ 290 w 318"/>
                    <a:gd name="T75" fmla="*/ 256 h 328"/>
                    <a:gd name="T76" fmla="*/ 312 w 318"/>
                    <a:gd name="T77" fmla="*/ 213 h 328"/>
                    <a:gd name="T78" fmla="*/ 318 w 318"/>
                    <a:gd name="T79" fmla="*/ 165 h 328"/>
                    <a:gd name="T80" fmla="*/ 316 w 318"/>
                    <a:gd name="T81" fmla="*/ 131 h 328"/>
                    <a:gd name="T82" fmla="*/ 298 w 318"/>
                    <a:gd name="T83" fmla="*/ 86 h 328"/>
                    <a:gd name="T84" fmla="*/ 270 w 318"/>
                    <a:gd name="T85" fmla="*/ 48 h 328"/>
                    <a:gd name="T86" fmla="*/ 233 w 318"/>
                    <a:gd name="T87" fmla="*/ 20 h 328"/>
                    <a:gd name="T88" fmla="*/ 187 w 318"/>
                    <a:gd name="T89" fmla="*/ 4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18" h="328"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38" y="1"/>
                      </a:lnTo>
                      <a:lnTo>
                        <a:pt x="120" y="4"/>
                      </a:lnTo>
                      <a:lnTo>
                        <a:pt x="104" y="8"/>
                      </a:lnTo>
                      <a:lnTo>
                        <a:pt x="88" y="13"/>
                      </a:lnTo>
                      <a:lnTo>
                        <a:pt x="74" y="21"/>
                      </a:lnTo>
                      <a:lnTo>
                        <a:pt x="60" y="31"/>
                      </a:lnTo>
                      <a:lnTo>
                        <a:pt x="47" y="40"/>
                      </a:lnTo>
                      <a:lnTo>
                        <a:pt x="33" y="52"/>
                      </a:lnTo>
                      <a:lnTo>
                        <a:pt x="36" y="53"/>
                      </a:lnTo>
                      <a:lnTo>
                        <a:pt x="35" y="53"/>
                      </a:lnTo>
                      <a:lnTo>
                        <a:pt x="41" y="62"/>
                      </a:lnTo>
                      <a:lnTo>
                        <a:pt x="41" y="62"/>
                      </a:lnTo>
                      <a:lnTo>
                        <a:pt x="32" y="72"/>
                      </a:lnTo>
                      <a:lnTo>
                        <a:pt x="24" y="83"/>
                      </a:lnTo>
                      <a:lnTo>
                        <a:pt x="17" y="95"/>
                      </a:lnTo>
                      <a:lnTo>
                        <a:pt x="11" y="108"/>
                      </a:lnTo>
                      <a:lnTo>
                        <a:pt x="7" y="122"/>
                      </a:lnTo>
                      <a:lnTo>
                        <a:pt x="3" y="135"/>
                      </a:lnTo>
                      <a:lnTo>
                        <a:pt x="1" y="150"/>
                      </a:lnTo>
                      <a:lnTo>
                        <a:pt x="0" y="165"/>
                      </a:lnTo>
                      <a:lnTo>
                        <a:pt x="0" y="165"/>
                      </a:lnTo>
                      <a:lnTo>
                        <a:pt x="1" y="177"/>
                      </a:lnTo>
                      <a:lnTo>
                        <a:pt x="3" y="190"/>
                      </a:lnTo>
                      <a:lnTo>
                        <a:pt x="5" y="202"/>
                      </a:lnTo>
                      <a:lnTo>
                        <a:pt x="8" y="214"/>
                      </a:lnTo>
                      <a:lnTo>
                        <a:pt x="13" y="225"/>
                      </a:lnTo>
                      <a:lnTo>
                        <a:pt x="19" y="237"/>
                      </a:lnTo>
                      <a:lnTo>
                        <a:pt x="25" y="248"/>
                      </a:lnTo>
                      <a:lnTo>
                        <a:pt x="32" y="258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36" y="241"/>
                      </a:lnTo>
                      <a:lnTo>
                        <a:pt x="29" y="230"/>
                      </a:lnTo>
                      <a:lnTo>
                        <a:pt x="25" y="221"/>
                      </a:lnTo>
                      <a:lnTo>
                        <a:pt x="21" y="210"/>
                      </a:lnTo>
                      <a:lnTo>
                        <a:pt x="17" y="198"/>
                      </a:lnTo>
                      <a:lnTo>
                        <a:pt x="15" y="187"/>
                      </a:lnTo>
                      <a:lnTo>
                        <a:pt x="13" y="175"/>
                      </a:lnTo>
                      <a:lnTo>
                        <a:pt x="13" y="165"/>
                      </a:lnTo>
                      <a:lnTo>
                        <a:pt x="13" y="165"/>
                      </a:lnTo>
                      <a:lnTo>
                        <a:pt x="13" y="151"/>
                      </a:lnTo>
                      <a:lnTo>
                        <a:pt x="16" y="138"/>
                      </a:lnTo>
                      <a:lnTo>
                        <a:pt x="19" y="126"/>
                      </a:lnTo>
                      <a:lnTo>
                        <a:pt x="23" y="114"/>
                      </a:lnTo>
                      <a:lnTo>
                        <a:pt x="28" y="102"/>
                      </a:lnTo>
                      <a:lnTo>
                        <a:pt x="35" y="91"/>
                      </a:lnTo>
                      <a:lnTo>
                        <a:pt x="41" y="82"/>
                      </a:lnTo>
                      <a:lnTo>
                        <a:pt x="50" y="71"/>
                      </a:lnTo>
                      <a:lnTo>
                        <a:pt x="135" y="178"/>
                      </a:lnTo>
                      <a:lnTo>
                        <a:pt x="162" y="157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99" y="47"/>
                      </a:lnTo>
                      <a:lnTo>
                        <a:pt x="116" y="40"/>
                      </a:lnTo>
                      <a:lnTo>
                        <a:pt x="135" y="36"/>
                      </a:lnTo>
                      <a:lnTo>
                        <a:pt x="154" y="35"/>
                      </a:lnTo>
                      <a:lnTo>
                        <a:pt x="154" y="35"/>
                      </a:lnTo>
                      <a:lnTo>
                        <a:pt x="167" y="35"/>
                      </a:lnTo>
                      <a:lnTo>
                        <a:pt x="181" y="37"/>
                      </a:lnTo>
                      <a:lnTo>
                        <a:pt x="193" y="40"/>
                      </a:lnTo>
                      <a:lnTo>
                        <a:pt x="205" y="44"/>
                      </a:lnTo>
                      <a:lnTo>
                        <a:pt x="217" y="49"/>
                      </a:lnTo>
                      <a:lnTo>
                        <a:pt x="227" y="56"/>
                      </a:lnTo>
                      <a:lnTo>
                        <a:pt x="237" y="64"/>
                      </a:lnTo>
                      <a:lnTo>
                        <a:pt x="246" y="72"/>
                      </a:lnTo>
                      <a:lnTo>
                        <a:pt x="254" y="82"/>
                      </a:lnTo>
                      <a:lnTo>
                        <a:pt x="262" y="91"/>
                      </a:lnTo>
                      <a:lnTo>
                        <a:pt x="269" y="102"/>
                      </a:lnTo>
                      <a:lnTo>
                        <a:pt x="274" y="114"/>
                      </a:lnTo>
                      <a:lnTo>
                        <a:pt x="278" y="126"/>
                      </a:lnTo>
                      <a:lnTo>
                        <a:pt x="282" y="138"/>
                      </a:lnTo>
                      <a:lnTo>
                        <a:pt x="284" y="151"/>
                      </a:lnTo>
                      <a:lnTo>
                        <a:pt x="285" y="165"/>
                      </a:lnTo>
                      <a:lnTo>
                        <a:pt x="285" y="165"/>
                      </a:lnTo>
                      <a:lnTo>
                        <a:pt x="284" y="177"/>
                      </a:lnTo>
                      <a:lnTo>
                        <a:pt x="282" y="190"/>
                      </a:lnTo>
                      <a:lnTo>
                        <a:pt x="278" y="202"/>
                      </a:lnTo>
                      <a:lnTo>
                        <a:pt x="274" y="214"/>
                      </a:lnTo>
                      <a:lnTo>
                        <a:pt x="269" y="226"/>
                      </a:lnTo>
                      <a:lnTo>
                        <a:pt x="262" y="237"/>
                      </a:lnTo>
                      <a:lnTo>
                        <a:pt x="254" y="246"/>
                      </a:lnTo>
                      <a:lnTo>
                        <a:pt x="246" y="256"/>
                      </a:lnTo>
                      <a:lnTo>
                        <a:pt x="237" y="264"/>
                      </a:lnTo>
                      <a:lnTo>
                        <a:pt x="227" y="272"/>
                      </a:lnTo>
                      <a:lnTo>
                        <a:pt x="217" y="278"/>
                      </a:lnTo>
                      <a:lnTo>
                        <a:pt x="205" y="284"/>
                      </a:lnTo>
                      <a:lnTo>
                        <a:pt x="193" y="288"/>
                      </a:lnTo>
                      <a:lnTo>
                        <a:pt x="181" y="290"/>
                      </a:lnTo>
                      <a:lnTo>
                        <a:pt x="167" y="293"/>
                      </a:lnTo>
                      <a:lnTo>
                        <a:pt x="154" y="293"/>
                      </a:lnTo>
                      <a:lnTo>
                        <a:pt x="154" y="293"/>
                      </a:lnTo>
                      <a:lnTo>
                        <a:pt x="139" y="293"/>
                      </a:lnTo>
                      <a:lnTo>
                        <a:pt x="126" y="290"/>
                      </a:lnTo>
                      <a:lnTo>
                        <a:pt x="112" y="286"/>
                      </a:lnTo>
                      <a:lnTo>
                        <a:pt x="99" y="281"/>
                      </a:lnTo>
                      <a:lnTo>
                        <a:pt x="84" y="312"/>
                      </a:lnTo>
                      <a:lnTo>
                        <a:pt x="84" y="312"/>
                      </a:lnTo>
                      <a:lnTo>
                        <a:pt x="102" y="319"/>
                      </a:lnTo>
                      <a:lnTo>
                        <a:pt x="118" y="324"/>
                      </a:lnTo>
                      <a:lnTo>
                        <a:pt x="136" y="327"/>
                      </a:lnTo>
                      <a:lnTo>
                        <a:pt x="154" y="328"/>
                      </a:lnTo>
                      <a:lnTo>
                        <a:pt x="154" y="328"/>
                      </a:lnTo>
                      <a:lnTo>
                        <a:pt x="171" y="327"/>
                      </a:lnTo>
                      <a:lnTo>
                        <a:pt x="187" y="324"/>
                      </a:lnTo>
                      <a:lnTo>
                        <a:pt x="203" y="320"/>
                      </a:lnTo>
                      <a:lnTo>
                        <a:pt x="218" y="315"/>
                      </a:lnTo>
                      <a:lnTo>
                        <a:pt x="233" y="308"/>
                      </a:lnTo>
                      <a:lnTo>
                        <a:pt x="246" y="300"/>
                      </a:lnTo>
                      <a:lnTo>
                        <a:pt x="258" y="290"/>
                      </a:lnTo>
                      <a:lnTo>
                        <a:pt x="270" y="280"/>
                      </a:lnTo>
                      <a:lnTo>
                        <a:pt x="281" y="268"/>
                      </a:lnTo>
                      <a:lnTo>
                        <a:pt x="290" y="256"/>
                      </a:lnTo>
                      <a:lnTo>
                        <a:pt x="298" y="242"/>
                      </a:lnTo>
                      <a:lnTo>
                        <a:pt x="306" y="228"/>
                      </a:lnTo>
                      <a:lnTo>
                        <a:pt x="312" y="213"/>
                      </a:lnTo>
                      <a:lnTo>
                        <a:pt x="316" y="197"/>
                      </a:lnTo>
                      <a:lnTo>
                        <a:pt x="318" y="181"/>
                      </a:lnTo>
                      <a:lnTo>
                        <a:pt x="318" y="165"/>
                      </a:lnTo>
                      <a:lnTo>
                        <a:pt x="318" y="165"/>
                      </a:lnTo>
                      <a:lnTo>
                        <a:pt x="318" y="147"/>
                      </a:lnTo>
                      <a:lnTo>
                        <a:pt x="316" y="131"/>
                      </a:lnTo>
                      <a:lnTo>
                        <a:pt x="312" y="115"/>
                      </a:lnTo>
                      <a:lnTo>
                        <a:pt x="306" y="100"/>
                      </a:lnTo>
                      <a:lnTo>
                        <a:pt x="298" y="86"/>
                      </a:lnTo>
                      <a:lnTo>
                        <a:pt x="290" y="72"/>
                      </a:lnTo>
                      <a:lnTo>
                        <a:pt x="281" y="60"/>
                      </a:lnTo>
                      <a:lnTo>
                        <a:pt x="270" y="48"/>
                      </a:lnTo>
                      <a:lnTo>
                        <a:pt x="258" y="37"/>
                      </a:lnTo>
                      <a:lnTo>
                        <a:pt x="246" y="28"/>
                      </a:lnTo>
                      <a:lnTo>
                        <a:pt x="233" y="20"/>
                      </a:lnTo>
                      <a:lnTo>
                        <a:pt x="218" y="13"/>
                      </a:lnTo>
                      <a:lnTo>
                        <a:pt x="203" y="8"/>
                      </a:lnTo>
                      <a:lnTo>
                        <a:pt x="187" y="4"/>
                      </a:lnTo>
                      <a:lnTo>
                        <a:pt x="171" y="1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7" name="Freeform 30">
                <a:extLst>
                  <a:ext uri="{FF2B5EF4-FFF2-40B4-BE49-F238E27FC236}">
                    <a16:creationId xmlns:a16="http://schemas.microsoft.com/office/drawing/2014/main" id="{F2AC7E10-C846-4942-9DD1-6F88FDE37EB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17394" y="5184268"/>
                <a:ext cx="210407" cy="168806"/>
              </a:xfrm>
              <a:custGeom>
                <a:avLst/>
                <a:gdLst>
                  <a:gd name="T0" fmla="*/ 68 w 789"/>
                  <a:gd name="T1" fmla="*/ 253 h 633"/>
                  <a:gd name="T2" fmla="*/ 25 w 789"/>
                  <a:gd name="T3" fmla="*/ 304 h 633"/>
                  <a:gd name="T4" fmla="*/ 17 w 789"/>
                  <a:gd name="T5" fmla="*/ 321 h 633"/>
                  <a:gd name="T6" fmla="*/ 29 w 789"/>
                  <a:gd name="T7" fmla="*/ 525 h 633"/>
                  <a:gd name="T8" fmla="*/ 39 w 789"/>
                  <a:gd name="T9" fmla="*/ 633 h 633"/>
                  <a:gd name="T10" fmla="*/ 160 w 789"/>
                  <a:gd name="T11" fmla="*/ 594 h 633"/>
                  <a:gd name="T12" fmla="*/ 401 w 789"/>
                  <a:gd name="T13" fmla="*/ 600 h 633"/>
                  <a:gd name="T14" fmla="*/ 634 w 789"/>
                  <a:gd name="T15" fmla="*/ 594 h 633"/>
                  <a:gd name="T16" fmla="*/ 754 w 789"/>
                  <a:gd name="T17" fmla="*/ 561 h 633"/>
                  <a:gd name="T18" fmla="*/ 768 w 789"/>
                  <a:gd name="T19" fmla="*/ 426 h 633"/>
                  <a:gd name="T20" fmla="*/ 772 w 789"/>
                  <a:gd name="T21" fmla="*/ 318 h 633"/>
                  <a:gd name="T22" fmla="*/ 746 w 789"/>
                  <a:gd name="T23" fmla="*/ 281 h 633"/>
                  <a:gd name="T24" fmla="*/ 720 w 789"/>
                  <a:gd name="T25" fmla="*/ 244 h 633"/>
                  <a:gd name="T26" fmla="*/ 762 w 789"/>
                  <a:gd name="T27" fmla="*/ 239 h 633"/>
                  <a:gd name="T28" fmla="*/ 785 w 789"/>
                  <a:gd name="T29" fmla="*/ 230 h 633"/>
                  <a:gd name="T30" fmla="*/ 787 w 789"/>
                  <a:gd name="T31" fmla="*/ 214 h 633"/>
                  <a:gd name="T32" fmla="*/ 768 w 789"/>
                  <a:gd name="T33" fmla="*/ 194 h 633"/>
                  <a:gd name="T34" fmla="*/ 714 w 789"/>
                  <a:gd name="T35" fmla="*/ 183 h 633"/>
                  <a:gd name="T36" fmla="*/ 698 w 789"/>
                  <a:gd name="T37" fmla="*/ 161 h 633"/>
                  <a:gd name="T38" fmla="*/ 678 w 789"/>
                  <a:gd name="T39" fmla="*/ 114 h 633"/>
                  <a:gd name="T40" fmla="*/ 617 w 789"/>
                  <a:gd name="T41" fmla="*/ 12 h 633"/>
                  <a:gd name="T42" fmla="*/ 595 w 789"/>
                  <a:gd name="T43" fmla="*/ 1 h 633"/>
                  <a:gd name="T44" fmla="*/ 395 w 789"/>
                  <a:gd name="T45" fmla="*/ 0 h 633"/>
                  <a:gd name="T46" fmla="*/ 213 w 789"/>
                  <a:gd name="T47" fmla="*/ 0 h 633"/>
                  <a:gd name="T48" fmla="*/ 179 w 789"/>
                  <a:gd name="T49" fmla="*/ 7 h 633"/>
                  <a:gd name="T50" fmla="*/ 155 w 789"/>
                  <a:gd name="T51" fmla="*/ 35 h 633"/>
                  <a:gd name="T52" fmla="*/ 98 w 789"/>
                  <a:gd name="T53" fmla="*/ 143 h 633"/>
                  <a:gd name="T54" fmla="*/ 84 w 789"/>
                  <a:gd name="T55" fmla="*/ 183 h 633"/>
                  <a:gd name="T56" fmla="*/ 41 w 789"/>
                  <a:gd name="T57" fmla="*/ 189 h 633"/>
                  <a:gd name="T58" fmla="*/ 15 w 789"/>
                  <a:gd name="T59" fmla="*/ 198 h 633"/>
                  <a:gd name="T60" fmla="*/ 0 w 789"/>
                  <a:gd name="T61" fmla="*/ 222 h 633"/>
                  <a:gd name="T62" fmla="*/ 9 w 789"/>
                  <a:gd name="T63" fmla="*/ 234 h 633"/>
                  <a:gd name="T64" fmla="*/ 56 w 789"/>
                  <a:gd name="T65" fmla="*/ 244 h 633"/>
                  <a:gd name="T66" fmla="*/ 720 w 789"/>
                  <a:gd name="T67" fmla="*/ 273 h 633"/>
                  <a:gd name="T68" fmla="*/ 721 w 789"/>
                  <a:gd name="T69" fmla="*/ 304 h 633"/>
                  <a:gd name="T70" fmla="*/ 713 w 789"/>
                  <a:gd name="T71" fmla="*/ 321 h 633"/>
                  <a:gd name="T72" fmla="*/ 651 w 789"/>
                  <a:gd name="T73" fmla="*/ 337 h 633"/>
                  <a:gd name="T74" fmla="*/ 631 w 789"/>
                  <a:gd name="T75" fmla="*/ 336 h 633"/>
                  <a:gd name="T76" fmla="*/ 613 w 789"/>
                  <a:gd name="T77" fmla="*/ 308 h 633"/>
                  <a:gd name="T78" fmla="*/ 613 w 789"/>
                  <a:gd name="T79" fmla="*/ 296 h 633"/>
                  <a:gd name="T80" fmla="*/ 665 w 789"/>
                  <a:gd name="T81" fmla="*/ 280 h 633"/>
                  <a:gd name="T82" fmla="*/ 193 w 789"/>
                  <a:gd name="T83" fmla="*/ 57 h 633"/>
                  <a:gd name="T84" fmla="*/ 214 w 789"/>
                  <a:gd name="T85" fmla="*/ 48 h 633"/>
                  <a:gd name="T86" fmla="*/ 574 w 789"/>
                  <a:gd name="T87" fmla="*/ 48 h 633"/>
                  <a:gd name="T88" fmla="*/ 590 w 789"/>
                  <a:gd name="T89" fmla="*/ 52 h 633"/>
                  <a:gd name="T90" fmla="*/ 611 w 789"/>
                  <a:gd name="T91" fmla="*/ 87 h 633"/>
                  <a:gd name="T92" fmla="*/ 658 w 789"/>
                  <a:gd name="T93" fmla="*/ 210 h 633"/>
                  <a:gd name="T94" fmla="*/ 132 w 789"/>
                  <a:gd name="T95" fmla="*/ 218 h 633"/>
                  <a:gd name="T96" fmla="*/ 146 w 789"/>
                  <a:gd name="T97" fmla="*/ 167 h 633"/>
                  <a:gd name="T98" fmla="*/ 195 w 789"/>
                  <a:gd name="T99" fmla="*/ 297 h 633"/>
                  <a:gd name="T100" fmla="*/ 187 w 789"/>
                  <a:gd name="T101" fmla="*/ 320 h 633"/>
                  <a:gd name="T102" fmla="*/ 170 w 789"/>
                  <a:gd name="T103" fmla="*/ 339 h 633"/>
                  <a:gd name="T104" fmla="*/ 130 w 789"/>
                  <a:gd name="T105" fmla="*/ 335 h 633"/>
                  <a:gd name="T106" fmla="*/ 92 w 789"/>
                  <a:gd name="T107" fmla="*/ 322 h 633"/>
                  <a:gd name="T108" fmla="*/ 84 w 789"/>
                  <a:gd name="T109" fmla="*/ 297 h 633"/>
                  <a:gd name="T110" fmla="*/ 88 w 789"/>
                  <a:gd name="T111" fmla="*/ 269 h 633"/>
                  <a:gd name="T112" fmla="*/ 160 w 789"/>
                  <a:gd name="T113" fmla="*/ 284 h 633"/>
                  <a:gd name="T114" fmla="*/ 195 w 789"/>
                  <a:gd name="T115" fmla="*/ 297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9" h="633">
                    <a:moveTo>
                      <a:pt x="71" y="244"/>
                    </a:moveTo>
                    <a:lnTo>
                      <a:pt x="71" y="244"/>
                    </a:lnTo>
                    <a:lnTo>
                      <a:pt x="68" y="253"/>
                    </a:lnTo>
                    <a:lnTo>
                      <a:pt x="68" y="253"/>
                    </a:lnTo>
                    <a:lnTo>
                      <a:pt x="60" y="261"/>
                    </a:lnTo>
                    <a:lnTo>
                      <a:pt x="43" y="281"/>
                    </a:lnTo>
                    <a:lnTo>
                      <a:pt x="33" y="293"/>
                    </a:lnTo>
                    <a:lnTo>
                      <a:pt x="25" y="304"/>
                    </a:lnTo>
                    <a:lnTo>
                      <a:pt x="20" y="314"/>
                    </a:lnTo>
                    <a:lnTo>
                      <a:pt x="19" y="318"/>
                    </a:lnTo>
                    <a:lnTo>
                      <a:pt x="17" y="321"/>
                    </a:lnTo>
                    <a:lnTo>
                      <a:pt x="17" y="321"/>
                    </a:lnTo>
                    <a:lnTo>
                      <a:pt x="19" y="364"/>
                    </a:lnTo>
                    <a:lnTo>
                      <a:pt x="23" y="443"/>
                    </a:lnTo>
                    <a:lnTo>
                      <a:pt x="27" y="486"/>
                    </a:lnTo>
                    <a:lnTo>
                      <a:pt x="29" y="525"/>
                    </a:lnTo>
                    <a:lnTo>
                      <a:pt x="35" y="555"/>
                    </a:lnTo>
                    <a:lnTo>
                      <a:pt x="36" y="567"/>
                    </a:lnTo>
                    <a:lnTo>
                      <a:pt x="39" y="575"/>
                    </a:lnTo>
                    <a:lnTo>
                      <a:pt x="39" y="633"/>
                    </a:lnTo>
                    <a:lnTo>
                      <a:pt x="119" y="633"/>
                    </a:lnTo>
                    <a:lnTo>
                      <a:pt x="119" y="592"/>
                    </a:lnTo>
                    <a:lnTo>
                      <a:pt x="119" y="592"/>
                    </a:lnTo>
                    <a:lnTo>
                      <a:pt x="160" y="594"/>
                    </a:lnTo>
                    <a:lnTo>
                      <a:pt x="203" y="597"/>
                    </a:lnTo>
                    <a:lnTo>
                      <a:pt x="289" y="598"/>
                    </a:lnTo>
                    <a:lnTo>
                      <a:pt x="389" y="600"/>
                    </a:lnTo>
                    <a:lnTo>
                      <a:pt x="401" y="600"/>
                    </a:lnTo>
                    <a:lnTo>
                      <a:pt x="401" y="600"/>
                    </a:lnTo>
                    <a:lnTo>
                      <a:pt x="503" y="600"/>
                    </a:lnTo>
                    <a:lnTo>
                      <a:pt x="590" y="597"/>
                    </a:lnTo>
                    <a:lnTo>
                      <a:pt x="634" y="594"/>
                    </a:lnTo>
                    <a:lnTo>
                      <a:pt x="674" y="592"/>
                    </a:lnTo>
                    <a:lnTo>
                      <a:pt x="674" y="633"/>
                    </a:lnTo>
                    <a:lnTo>
                      <a:pt x="754" y="633"/>
                    </a:lnTo>
                    <a:lnTo>
                      <a:pt x="754" y="561"/>
                    </a:lnTo>
                    <a:lnTo>
                      <a:pt x="754" y="561"/>
                    </a:lnTo>
                    <a:lnTo>
                      <a:pt x="758" y="535"/>
                    </a:lnTo>
                    <a:lnTo>
                      <a:pt x="762" y="502"/>
                    </a:lnTo>
                    <a:lnTo>
                      <a:pt x="768" y="426"/>
                    </a:lnTo>
                    <a:lnTo>
                      <a:pt x="771" y="357"/>
                    </a:lnTo>
                    <a:lnTo>
                      <a:pt x="772" y="322"/>
                    </a:lnTo>
                    <a:lnTo>
                      <a:pt x="772" y="322"/>
                    </a:lnTo>
                    <a:lnTo>
                      <a:pt x="772" y="318"/>
                    </a:lnTo>
                    <a:lnTo>
                      <a:pt x="771" y="314"/>
                    </a:lnTo>
                    <a:lnTo>
                      <a:pt x="764" y="304"/>
                    </a:lnTo>
                    <a:lnTo>
                      <a:pt x="756" y="293"/>
                    </a:lnTo>
                    <a:lnTo>
                      <a:pt x="746" y="281"/>
                    </a:lnTo>
                    <a:lnTo>
                      <a:pt x="729" y="261"/>
                    </a:lnTo>
                    <a:lnTo>
                      <a:pt x="721" y="253"/>
                    </a:lnTo>
                    <a:lnTo>
                      <a:pt x="721" y="253"/>
                    </a:lnTo>
                    <a:lnTo>
                      <a:pt x="720" y="244"/>
                    </a:lnTo>
                    <a:lnTo>
                      <a:pt x="720" y="244"/>
                    </a:lnTo>
                    <a:lnTo>
                      <a:pt x="734" y="242"/>
                    </a:lnTo>
                    <a:lnTo>
                      <a:pt x="753" y="241"/>
                    </a:lnTo>
                    <a:lnTo>
                      <a:pt x="762" y="239"/>
                    </a:lnTo>
                    <a:lnTo>
                      <a:pt x="772" y="237"/>
                    </a:lnTo>
                    <a:lnTo>
                      <a:pt x="780" y="234"/>
                    </a:lnTo>
                    <a:lnTo>
                      <a:pt x="785" y="230"/>
                    </a:lnTo>
                    <a:lnTo>
                      <a:pt x="785" y="230"/>
                    </a:lnTo>
                    <a:lnTo>
                      <a:pt x="788" y="226"/>
                    </a:lnTo>
                    <a:lnTo>
                      <a:pt x="789" y="222"/>
                    </a:lnTo>
                    <a:lnTo>
                      <a:pt x="789" y="218"/>
                    </a:lnTo>
                    <a:lnTo>
                      <a:pt x="787" y="214"/>
                    </a:lnTo>
                    <a:lnTo>
                      <a:pt x="781" y="206"/>
                    </a:lnTo>
                    <a:lnTo>
                      <a:pt x="775" y="198"/>
                    </a:lnTo>
                    <a:lnTo>
                      <a:pt x="775" y="198"/>
                    </a:lnTo>
                    <a:lnTo>
                      <a:pt x="768" y="194"/>
                    </a:lnTo>
                    <a:lnTo>
                      <a:pt x="760" y="191"/>
                    </a:lnTo>
                    <a:lnTo>
                      <a:pt x="748" y="189"/>
                    </a:lnTo>
                    <a:lnTo>
                      <a:pt x="736" y="186"/>
                    </a:lnTo>
                    <a:lnTo>
                      <a:pt x="71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698" y="161"/>
                    </a:lnTo>
                    <a:lnTo>
                      <a:pt x="693" y="143"/>
                    </a:lnTo>
                    <a:lnTo>
                      <a:pt x="693" y="143"/>
                    </a:lnTo>
                    <a:lnTo>
                      <a:pt x="688" y="131"/>
                    </a:lnTo>
                    <a:lnTo>
                      <a:pt x="678" y="114"/>
                    </a:lnTo>
                    <a:lnTo>
                      <a:pt x="657" y="74"/>
                    </a:lnTo>
                    <a:lnTo>
                      <a:pt x="634" y="36"/>
                    </a:lnTo>
                    <a:lnTo>
                      <a:pt x="625" y="21"/>
                    </a:lnTo>
                    <a:lnTo>
                      <a:pt x="617" y="12"/>
                    </a:lnTo>
                    <a:lnTo>
                      <a:pt x="617" y="12"/>
                    </a:lnTo>
                    <a:lnTo>
                      <a:pt x="610" y="7"/>
                    </a:lnTo>
                    <a:lnTo>
                      <a:pt x="603" y="4"/>
                    </a:lnTo>
                    <a:lnTo>
                      <a:pt x="595" y="1"/>
                    </a:lnTo>
                    <a:lnTo>
                      <a:pt x="589" y="0"/>
                    </a:lnTo>
                    <a:lnTo>
                      <a:pt x="577" y="0"/>
                    </a:lnTo>
                    <a:lnTo>
                      <a:pt x="573" y="0"/>
                    </a:lnTo>
                    <a:lnTo>
                      <a:pt x="395" y="0"/>
                    </a:lnTo>
                    <a:lnTo>
                      <a:pt x="395" y="0"/>
                    </a:lnTo>
                    <a:lnTo>
                      <a:pt x="218" y="0"/>
                    </a:lnTo>
                    <a:lnTo>
                      <a:pt x="218" y="0"/>
                    </a:lnTo>
                    <a:lnTo>
                      <a:pt x="213" y="0"/>
                    </a:lnTo>
                    <a:lnTo>
                      <a:pt x="201" y="0"/>
                    </a:lnTo>
                    <a:lnTo>
                      <a:pt x="194" y="1"/>
                    </a:lnTo>
                    <a:lnTo>
                      <a:pt x="186" y="3"/>
                    </a:lnTo>
                    <a:lnTo>
                      <a:pt x="179" y="7"/>
                    </a:lnTo>
                    <a:lnTo>
                      <a:pt x="172" y="12"/>
                    </a:lnTo>
                    <a:lnTo>
                      <a:pt x="172" y="12"/>
                    </a:lnTo>
                    <a:lnTo>
                      <a:pt x="164" y="21"/>
                    </a:lnTo>
                    <a:lnTo>
                      <a:pt x="155" y="35"/>
                    </a:lnTo>
                    <a:lnTo>
                      <a:pt x="132" y="74"/>
                    </a:lnTo>
                    <a:lnTo>
                      <a:pt x="111" y="114"/>
                    </a:lnTo>
                    <a:lnTo>
                      <a:pt x="103" y="131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1" y="162"/>
                    </a:lnTo>
                    <a:lnTo>
                      <a:pt x="84" y="186"/>
                    </a:lnTo>
                    <a:lnTo>
                      <a:pt x="84" y="183"/>
                    </a:lnTo>
                    <a:lnTo>
                      <a:pt x="84" y="183"/>
                    </a:lnTo>
                    <a:lnTo>
                      <a:pt x="75" y="183"/>
                    </a:lnTo>
                    <a:lnTo>
                      <a:pt x="53" y="186"/>
                    </a:lnTo>
                    <a:lnTo>
                      <a:pt x="41" y="189"/>
                    </a:lnTo>
                    <a:lnTo>
                      <a:pt x="29" y="191"/>
                    </a:lnTo>
                    <a:lnTo>
                      <a:pt x="20" y="194"/>
                    </a:lnTo>
                    <a:lnTo>
                      <a:pt x="15" y="198"/>
                    </a:lnTo>
                    <a:lnTo>
                      <a:pt x="15" y="198"/>
                    </a:lnTo>
                    <a:lnTo>
                      <a:pt x="8" y="206"/>
                    </a:lnTo>
                    <a:lnTo>
                      <a:pt x="1" y="214"/>
                    </a:lnTo>
                    <a:lnTo>
                      <a:pt x="0" y="218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9" y="234"/>
                    </a:lnTo>
                    <a:lnTo>
                      <a:pt x="17" y="237"/>
                    </a:lnTo>
                    <a:lnTo>
                      <a:pt x="27" y="239"/>
                    </a:lnTo>
                    <a:lnTo>
                      <a:pt x="36" y="241"/>
                    </a:lnTo>
                    <a:lnTo>
                      <a:pt x="56" y="244"/>
                    </a:lnTo>
                    <a:lnTo>
                      <a:pt x="71" y="244"/>
                    </a:lnTo>
                    <a:close/>
                    <a:moveTo>
                      <a:pt x="717" y="269"/>
                    </a:moveTo>
                    <a:lnTo>
                      <a:pt x="717" y="269"/>
                    </a:lnTo>
                    <a:lnTo>
                      <a:pt x="720" y="273"/>
                    </a:lnTo>
                    <a:lnTo>
                      <a:pt x="722" y="280"/>
                    </a:lnTo>
                    <a:lnTo>
                      <a:pt x="722" y="288"/>
                    </a:lnTo>
                    <a:lnTo>
                      <a:pt x="722" y="296"/>
                    </a:lnTo>
                    <a:lnTo>
                      <a:pt x="721" y="304"/>
                    </a:lnTo>
                    <a:lnTo>
                      <a:pt x="718" y="312"/>
                    </a:lnTo>
                    <a:lnTo>
                      <a:pt x="716" y="317"/>
                    </a:lnTo>
                    <a:lnTo>
                      <a:pt x="713" y="321"/>
                    </a:lnTo>
                    <a:lnTo>
                      <a:pt x="713" y="321"/>
                    </a:lnTo>
                    <a:lnTo>
                      <a:pt x="708" y="324"/>
                    </a:lnTo>
                    <a:lnTo>
                      <a:pt x="700" y="327"/>
                    </a:lnTo>
                    <a:lnTo>
                      <a:pt x="676" y="333"/>
                    </a:lnTo>
                    <a:lnTo>
                      <a:pt x="651" y="337"/>
                    </a:lnTo>
                    <a:lnTo>
                      <a:pt x="642" y="339"/>
                    </a:lnTo>
                    <a:lnTo>
                      <a:pt x="635" y="337"/>
                    </a:lnTo>
                    <a:lnTo>
                      <a:pt x="635" y="337"/>
                    </a:lnTo>
                    <a:lnTo>
                      <a:pt x="631" y="336"/>
                    </a:lnTo>
                    <a:lnTo>
                      <a:pt x="626" y="331"/>
                    </a:lnTo>
                    <a:lnTo>
                      <a:pt x="622" y="325"/>
                    </a:lnTo>
                    <a:lnTo>
                      <a:pt x="618" y="320"/>
                    </a:lnTo>
                    <a:lnTo>
                      <a:pt x="613" y="308"/>
                    </a:lnTo>
                    <a:lnTo>
                      <a:pt x="611" y="301"/>
                    </a:lnTo>
                    <a:lnTo>
                      <a:pt x="611" y="297"/>
                    </a:lnTo>
                    <a:lnTo>
                      <a:pt x="611" y="297"/>
                    </a:lnTo>
                    <a:lnTo>
                      <a:pt x="613" y="296"/>
                    </a:lnTo>
                    <a:lnTo>
                      <a:pt x="617" y="293"/>
                    </a:lnTo>
                    <a:lnTo>
                      <a:pt x="629" y="289"/>
                    </a:lnTo>
                    <a:lnTo>
                      <a:pt x="646" y="284"/>
                    </a:lnTo>
                    <a:lnTo>
                      <a:pt x="665" y="280"/>
                    </a:lnTo>
                    <a:lnTo>
                      <a:pt x="701" y="272"/>
                    </a:lnTo>
                    <a:lnTo>
                      <a:pt x="717" y="269"/>
                    </a:lnTo>
                    <a:close/>
                    <a:moveTo>
                      <a:pt x="193" y="57"/>
                    </a:moveTo>
                    <a:lnTo>
                      <a:pt x="193" y="57"/>
                    </a:lnTo>
                    <a:lnTo>
                      <a:pt x="195" y="53"/>
                    </a:lnTo>
                    <a:lnTo>
                      <a:pt x="199" y="52"/>
                    </a:lnTo>
                    <a:lnTo>
                      <a:pt x="207" y="49"/>
                    </a:lnTo>
                    <a:lnTo>
                      <a:pt x="214" y="48"/>
                    </a:lnTo>
                    <a:lnTo>
                      <a:pt x="217" y="48"/>
                    </a:lnTo>
                    <a:lnTo>
                      <a:pt x="395" y="48"/>
                    </a:lnTo>
                    <a:lnTo>
                      <a:pt x="395" y="48"/>
                    </a:lnTo>
                    <a:lnTo>
                      <a:pt x="574" y="48"/>
                    </a:lnTo>
                    <a:lnTo>
                      <a:pt x="574" y="48"/>
                    </a:lnTo>
                    <a:lnTo>
                      <a:pt x="577" y="48"/>
                    </a:lnTo>
                    <a:lnTo>
                      <a:pt x="583" y="49"/>
                    </a:lnTo>
                    <a:lnTo>
                      <a:pt x="590" y="52"/>
                    </a:lnTo>
                    <a:lnTo>
                      <a:pt x="594" y="55"/>
                    </a:lnTo>
                    <a:lnTo>
                      <a:pt x="597" y="57"/>
                    </a:lnTo>
                    <a:lnTo>
                      <a:pt x="597" y="57"/>
                    </a:lnTo>
                    <a:lnTo>
                      <a:pt x="611" y="87"/>
                    </a:lnTo>
                    <a:lnTo>
                      <a:pt x="633" y="139"/>
                    </a:lnTo>
                    <a:lnTo>
                      <a:pt x="643" y="167"/>
                    </a:lnTo>
                    <a:lnTo>
                      <a:pt x="653" y="193"/>
                    </a:lnTo>
                    <a:lnTo>
                      <a:pt x="658" y="210"/>
                    </a:lnTo>
                    <a:lnTo>
                      <a:pt x="658" y="215"/>
                    </a:lnTo>
                    <a:lnTo>
                      <a:pt x="658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1" y="215"/>
                    </a:lnTo>
                    <a:lnTo>
                      <a:pt x="132" y="210"/>
                    </a:lnTo>
                    <a:lnTo>
                      <a:pt x="138" y="191"/>
                    </a:lnTo>
                    <a:lnTo>
                      <a:pt x="146" y="167"/>
                    </a:lnTo>
                    <a:lnTo>
                      <a:pt x="156" y="139"/>
                    </a:lnTo>
                    <a:lnTo>
                      <a:pt x="179" y="87"/>
                    </a:lnTo>
                    <a:lnTo>
                      <a:pt x="193" y="57"/>
                    </a:lnTo>
                    <a:close/>
                    <a:moveTo>
                      <a:pt x="195" y="297"/>
                    </a:moveTo>
                    <a:lnTo>
                      <a:pt x="195" y="297"/>
                    </a:lnTo>
                    <a:lnTo>
                      <a:pt x="195" y="302"/>
                    </a:lnTo>
                    <a:lnTo>
                      <a:pt x="194" y="308"/>
                    </a:lnTo>
                    <a:lnTo>
                      <a:pt x="187" y="320"/>
                    </a:lnTo>
                    <a:lnTo>
                      <a:pt x="183" y="327"/>
                    </a:lnTo>
                    <a:lnTo>
                      <a:pt x="179" y="332"/>
                    </a:lnTo>
                    <a:lnTo>
                      <a:pt x="175" y="336"/>
                    </a:lnTo>
                    <a:lnTo>
                      <a:pt x="170" y="339"/>
                    </a:lnTo>
                    <a:lnTo>
                      <a:pt x="170" y="339"/>
                    </a:lnTo>
                    <a:lnTo>
                      <a:pt x="163" y="339"/>
                    </a:lnTo>
                    <a:lnTo>
                      <a:pt x="154" y="339"/>
                    </a:lnTo>
                    <a:lnTo>
                      <a:pt x="130" y="335"/>
                    </a:lnTo>
                    <a:lnTo>
                      <a:pt x="107" y="328"/>
                    </a:lnTo>
                    <a:lnTo>
                      <a:pt x="98" y="325"/>
                    </a:lnTo>
                    <a:lnTo>
                      <a:pt x="92" y="322"/>
                    </a:lnTo>
                    <a:lnTo>
                      <a:pt x="92" y="322"/>
                    </a:lnTo>
                    <a:lnTo>
                      <a:pt x="90" y="318"/>
                    </a:lnTo>
                    <a:lnTo>
                      <a:pt x="87" y="312"/>
                    </a:lnTo>
                    <a:lnTo>
                      <a:pt x="86" y="305"/>
                    </a:lnTo>
                    <a:lnTo>
                      <a:pt x="84" y="297"/>
                    </a:lnTo>
                    <a:lnTo>
                      <a:pt x="83" y="288"/>
                    </a:lnTo>
                    <a:lnTo>
                      <a:pt x="84" y="280"/>
                    </a:lnTo>
                    <a:lnTo>
                      <a:pt x="86" y="274"/>
                    </a:lnTo>
                    <a:lnTo>
                      <a:pt x="88" y="269"/>
                    </a:lnTo>
                    <a:lnTo>
                      <a:pt x="88" y="269"/>
                    </a:lnTo>
                    <a:lnTo>
                      <a:pt x="106" y="273"/>
                    </a:lnTo>
                    <a:lnTo>
                      <a:pt x="140" y="280"/>
                    </a:lnTo>
                    <a:lnTo>
                      <a:pt x="160" y="284"/>
                    </a:lnTo>
                    <a:lnTo>
                      <a:pt x="178" y="289"/>
                    </a:lnTo>
                    <a:lnTo>
                      <a:pt x="190" y="293"/>
                    </a:lnTo>
                    <a:lnTo>
                      <a:pt x="193" y="296"/>
                    </a:lnTo>
                    <a:lnTo>
                      <a:pt x="195" y="2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">
                <a:extLst>
                  <a:ext uri="{FF2B5EF4-FFF2-40B4-BE49-F238E27FC236}">
                    <a16:creationId xmlns:a16="http://schemas.microsoft.com/office/drawing/2014/main" id="{2C40BEDC-6EE6-49D1-B028-7349422E657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167007" y="5120799"/>
                <a:ext cx="201339" cy="233608"/>
              </a:xfrm>
              <a:custGeom>
                <a:avLst/>
                <a:gdLst>
                  <a:gd name="T0" fmla="*/ 670 w 755"/>
                  <a:gd name="T1" fmla="*/ 646 h 876"/>
                  <a:gd name="T2" fmla="*/ 653 w 755"/>
                  <a:gd name="T3" fmla="*/ 635 h 876"/>
                  <a:gd name="T4" fmla="*/ 642 w 755"/>
                  <a:gd name="T5" fmla="*/ 618 h 876"/>
                  <a:gd name="T6" fmla="*/ 642 w 755"/>
                  <a:gd name="T7" fmla="*/ 603 h 876"/>
                  <a:gd name="T8" fmla="*/ 653 w 755"/>
                  <a:gd name="T9" fmla="*/ 586 h 876"/>
                  <a:gd name="T10" fmla="*/ 670 w 755"/>
                  <a:gd name="T11" fmla="*/ 577 h 876"/>
                  <a:gd name="T12" fmla="*/ 685 w 755"/>
                  <a:gd name="T13" fmla="*/ 577 h 876"/>
                  <a:gd name="T14" fmla="*/ 702 w 755"/>
                  <a:gd name="T15" fmla="*/ 586 h 876"/>
                  <a:gd name="T16" fmla="*/ 712 w 755"/>
                  <a:gd name="T17" fmla="*/ 603 h 876"/>
                  <a:gd name="T18" fmla="*/ 712 w 755"/>
                  <a:gd name="T19" fmla="*/ 618 h 876"/>
                  <a:gd name="T20" fmla="*/ 702 w 755"/>
                  <a:gd name="T21" fmla="*/ 635 h 876"/>
                  <a:gd name="T22" fmla="*/ 685 w 755"/>
                  <a:gd name="T23" fmla="*/ 646 h 876"/>
                  <a:gd name="T24" fmla="*/ 155 w 755"/>
                  <a:gd name="T25" fmla="*/ 146 h 876"/>
                  <a:gd name="T26" fmla="*/ 115 w 755"/>
                  <a:gd name="T27" fmla="*/ 532 h 876"/>
                  <a:gd name="T28" fmla="*/ 84 w 755"/>
                  <a:gd name="T29" fmla="*/ 646 h 876"/>
                  <a:gd name="T30" fmla="*/ 66 w 755"/>
                  <a:gd name="T31" fmla="*/ 635 h 876"/>
                  <a:gd name="T32" fmla="*/ 56 w 755"/>
                  <a:gd name="T33" fmla="*/ 618 h 876"/>
                  <a:gd name="T34" fmla="*/ 56 w 755"/>
                  <a:gd name="T35" fmla="*/ 603 h 876"/>
                  <a:gd name="T36" fmla="*/ 66 w 755"/>
                  <a:gd name="T37" fmla="*/ 586 h 876"/>
                  <a:gd name="T38" fmla="*/ 84 w 755"/>
                  <a:gd name="T39" fmla="*/ 577 h 876"/>
                  <a:gd name="T40" fmla="*/ 99 w 755"/>
                  <a:gd name="T41" fmla="*/ 577 h 876"/>
                  <a:gd name="T42" fmla="*/ 116 w 755"/>
                  <a:gd name="T43" fmla="*/ 586 h 876"/>
                  <a:gd name="T44" fmla="*/ 126 w 755"/>
                  <a:gd name="T45" fmla="*/ 603 h 876"/>
                  <a:gd name="T46" fmla="*/ 126 w 755"/>
                  <a:gd name="T47" fmla="*/ 618 h 876"/>
                  <a:gd name="T48" fmla="*/ 116 w 755"/>
                  <a:gd name="T49" fmla="*/ 635 h 876"/>
                  <a:gd name="T50" fmla="*/ 99 w 755"/>
                  <a:gd name="T51" fmla="*/ 646 h 876"/>
                  <a:gd name="T52" fmla="*/ 692 w 755"/>
                  <a:gd name="T53" fmla="*/ 120 h 876"/>
                  <a:gd name="T54" fmla="*/ 686 w 755"/>
                  <a:gd name="T55" fmla="*/ 100 h 876"/>
                  <a:gd name="T56" fmla="*/ 670 w 755"/>
                  <a:gd name="T57" fmla="*/ 76 h 876"/>
                  <a:gd name="T58" fmla="*/ 649 w 755"/>
                  <a:gd name="T59" fmla="*/ 61 h 876"/>
                  <a:gd name="T60" fmla="*/ 615 w 755"/>
                  <a:gd name="T61" fmla="*/ 56 h 876"/>
                  <a:gd name="T62" fmla="*/ 587 w 755"/>
                  <a:gd name="T63" fmla="*/ 51 h 876"/>
                  <a:gd name="T64" fmla="*/ 593 w 755"/>
                  <a:gd name="T65" fmla="*/ 33 h 876"/>
                  <a:gd name="T66" fmla="*/ 590 w 755"/>
                  <a:gd name="T67" fmla="*/ 21 h 876"/>
                  <a:gd name="T68" fmla="*/ 578 w 755"/>
                  <a:gd name="T69" fmla="*/ 6 h 876"/>
                  <a:gd name="T70" fmla="*/ 558 w 755"/>
                  <a:gd name="T71" fmla="*/ 0 h 876"/>
                  <a:gd name="T72" fmla="*/ 190 w 755"/>
                  <a:gd name="T73" fmla="*/ 1 h 876"/>
                  <a:gd name="T74" fmla="*/ 173 w 755"/>
                  <a:gd name="T75" fmla="*/ 10 h 876"/>
                  <a:gd name="T76" fmla="*/ 163 w 755"/>
                  <a:gd name="T77" fmla="*/ 26 h 876"/>
                  <a:gd name="T78" fmla="*/ 163 w 755"/>
                  <a:gd name="T79" fmla="*/ 40 h 876"/>
                  <a:gd name="T80" fmla="*/ 171 w 755"/>
                  <a:gd name="T81" fmla="*/ 56 h 876"/>
                  <a:gd name="T82" fmla="*/ 134 w 755"/>
                  <a:gd name="T83" fmla="*/ 57 h 876"/>
                  <a:gd name="T84" fmla="*/ 104 w 755"/>
                  <a:gd name="T85" fmla="*/ 65 h 876"/>
                  <a:gd name="T86" fmla="*/ 86 w 755"/>
                  <a:gd name="T87" fmla="*/ 81 h 876"/>
                  <a:gd name="T88" fmla="*/ 72 w 755"/>
                  <a:gd name="T89" fmla="*/ 109 h 876"/>
                  <a:gd name="T90" fmla="*/ 0 w 755"/>
                  <a:gd name="T91" fmla="*/ 664 h 876"/>
                  <a:gd name="T92" fmla="*/ 28 w 755"/>
                  <a:gd name="T93" fmla="*/ 805 h 876"/>
                  <a:gd name="T94" fmla="*/ 80 w 755"/>
                  <a:gd name="T95" fmla="*/ 876 h 876"/>
                  <a:gd name="T96" fmla="*/ 380 w 755"/>
                  <a:gd name="T97" fmla="*/ 805 h 876"/>
                  <a:gd name="T98" fmla="*/ 710 w 755"/>
                  <a:gd name="T99" fmla="*/ 876 h 876"/>
                  <a:gd name="T100" fmla="*/ 744 w 755"/>
                  <a:gd name="T101" fmla="*/ 706 h 876"/>
                  <a:gd name="T102" fmla="*/ 751 w 755"/>
                  <a:gd name="T103" fmla="*/ 417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5" h="876">
                    <a:moveTo>
                      <a:pt x="677" y="646"/>
                    </a:moveTo>
                    <a:lnTo>
                      <a:pt x="677" y="646"/>
                    </a:lnTo>
                    <a:lnTo>
                      <a:pt x="670" y="646"/>
                    </a:lnTo>
                    <a:lnTo>
                      <a:pt x="664" y="643"/>
                    </a:lnTo>
                    <a:lnTo>
                      <a:pt x="658" y="641"/>
                    </a:lnTo>
                    <a:lnTo>
                      <a:pt x="653" y="635"/>
                    </a:lnTo>
                    <a:lnTo>
                      <a:pt x="648" y="630"/>
                    </a:lnTo>
                    <a:lnTo>
                      <a:pt x="645" y="625"/>
                    </a:lnTo>
                    <a:lnTo>
                      <a:pt x="642" y="618"/>
                    </a:lnTo>
                    <a:lnTo>
                      <a:pt x="642" y="611"/>
                    </a:lnTo>
                    <a:lnTo>
                      <a:pt x="642" y="611"/>
                    </a:lnTo>
                    <a:lnTo>
                      <a:pt x="642" y="603"/>
                    </a:lnTo>
                    <a:lnTo>
                      <a:pt x="645" y="597"/>
                    </a:lnTo>
                    <a:lnTo>
                      <a:pt x="648" y="591"/>
                    </a:lnTo>
                    <a:lnTo>
                      <a:pt x="653" y="586"/>
                    </a:lnTo>
                    <a:lnTo>
                      <a:pt x="658" y="582"/>
                    </a:lnTo>
                    <a:lnTo>
                      <a:pt x="664" y="578"/>
                    </a:lnTo>
                    <a:lnTo>
                      <a:pt x="670" y="577"/>
                    </a:lnTo>
                    <a:lnTo>
                      <a:pt x="677" y="575"/>
                    </a:lnTo>
                    <a:lnTo>
                      <a:pt x="677" y="575"/>
                    </a:lnTo>
                    <a:lnTo>
                      <a:pt x="685" y="577"/>
                    </a:lnTo>
                    <a:lnTo>
                      <a:pt x="692" y="578"/>
                    </a:lnTo>
                    <a:lnTo>
                      <a:pt x="697" y="582"/>
                    </a:lnTo>
                    <a:lnTo>
                      <a:pt x="702" y="586"/>
                    </a:lnTo>
                    <a:lnTo>
                      <a:pt x="706" y="591"/>
                    </a:lnTo>
                    <a:lnTo>
                      <a:pt x="710" y="597"/>
                    </a:lnTo>
                    <a:lnTo>
                      <a:pt x="712" y="603"/>
                    </a:lnTo>
                    <a:lnTo>
                      <a:pt x="713" y="611"/>
                    </a:lnTo>
                    <a:lnTo>
                      <a:pt x="713" y="611"/>
                    </a:lnTo>
                    <a:lnTo>
                      <a:pt x="712" y="618"/>
                    </a:lnTo>
                    <a:lnTo>
                      <a:pt x="710" y="625"/>
                    </a:lnTo>
                    <a:lnTo>
                      <a:pt x="706" y="630"/>
                    </a:lnTo>
                    <a:lnTo>
                      <a:pt x="702" y="635"/>
                    </a:lnTo>
                    <a:lnTo>
                      <a:pt x="697" y="641"/>
                    </a:lnTo>
                    <a:lnTo>
                      <a:pt x="692" y="643"/>
                    </a:lnTo>
                    <a:lnTo>
                      <a:pt x="685" y="646"/>
                    </a:lnTo>
                    <a:lnTo>
                      <a:pt x="677" y="646"/>
                    </a:lnTo>
                    <a:close/>
                    <a:moveTo>
                      <a:pt x="115" y="532"/>
                    </a:moveTo>
                    <a:lnTo>
                      <a:pt x="155" y="146"/>
                    </a:lnTo>
                    <a:lnTo>
                      <a:pt x="605" y="146"/>
                    </a:lnTo>
                    <a:lnTo>
                      <a:pt x="646" y="532"/>
                    </a:lnTo>
                    <a:lnTo>
                      <a:pt x="115" y="532"/>
                    </a:lnTo>
                    <a:close/>
                    <a:moveTo>
                      <a:pt x="91" y="646"/>
                    </a:moveTo>
                    <a:lnTo>
                      <a:pt x="91" y="646"/>
                    </a:lnTo>
                    <a:lnTo>
                      <a:pt x="84" y="646"/>
                    </a:lnTo>
                    <a:lnTo>
                      <a:pt x="78" y="643"/>
                    </a:lnTo>
                    <a:lnTo>
                      <a:pt x="71" y="641"/>
                    </a:lnTo>
                    <a:lnTo>
                      <a:pt x="66" y="635"/>
                    </a:lnTo>
                    <a:lnTo>
                      <a:pt x="62" y="630"/>
                    </a:lnTo>
                    <a:lnTo>
                      <a:pt x="59" y="625"/>
                    </a:lnTo>
                    <a:lnTo>
                      <a:pt x="56" y="618"/>
                    </a:lnTo>
                    <a:lnTo>
                      <a:pt x="56" y="611"/>
                    </a:lnTo>
                    <a:lnTo>
                      <a:pt x="56" y="611"/>
                    </a:lnTo>
                    <a:lnTo>
                      <a:pt x="56" y="603"/>
                    </a:lnTo>
                    <a:lnTo>
                      <a:pt x="59" y="597"/>
                    </a:lnTo>
                    <a:lnTo>
                      <a:pt x="62" y="591"/>
                    </a:lnTo>
                    <a:lnTo>
                      <a:pt x="66" y="586"/>
                    </a:lnTo>
                    <a:lnTo>
                      <a:pt x="71" y="582"/>
                    </a:lnTo>
                    <a:lnTo>
                      <a:pt x="78" y="578"/>
                    </a:lnTo>
                    <a:lnTo>
                      <a:pt x="84" y="577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9" y="577"/>
                    </a:lnTo>
                    <a:lnTo>
                      <a:pt x="106" y="578"/>
                    </a:lnTo>
                    <a:lnTo>
                      <a:pt x="111" y="582"/>
                    </a:lnTo>
                    <a:lnTo>
                      <a:pt x="116" y="586"/>
                    </a:lnTo>
                    <a:lnTo>
                      <a:pt x="120" y="591"/>
                    </a:lnTo>
                    <a:lnTo>
                      <a:pt x="124" y="597"/>
                    </a:lnTo>
                    <a:lnTo>
                      <a:pt x="126" y="603"/>
                    </a:lnTo>
                    <a:lnTo>
                      <a:pt x="127" y="611"/>
                    </a:lnTo>
                    <a:lnTo>
                      <a:pt x="127" y="611"/>
                    </a:lnTo>
                    <a:lnTo>
                      <a:pt x="126" y="618"/>
                    </a:lnTo>
                    <a:lnTo>
                      <a:pt x="124" y="625"/>
                    </a:lnTo>
                    <a:lnTo>
                      <a:pt x="120" y="630"/>
                    </a:lnTo>
                    <a:lnTo>
                      <a:pt x="116" y="635"/>
                    </a:lnTo>
                    <a:lnTo>
                      <a:pt x="111" y="641"/>
                    </a:lnTo>
                    <a:lnTo>
                      <a:pt x="106" y="643"/>
                    </a:lnTo>
                    <a:lnTo>
                      <a:pt x="99" y="646"/>
                    </a:lnTo>
                    <a:lnTo>
                      <a:pt x="91" y="646"/>
                    </a:lnTo>
                    <a:close/>
                    <a:moveTo>
                      <a:pt x="751" y="417"/>
                    </a:moveTo>
                    <a:lnTo>
                      <a:pt x="692" y="120"/>
                    </a:lnTo>
                    <a:lnTo>
                      <a:pt x="692" y="120"/>
                    </a:lnTo>
                    <a:lnTo>
                      <a:pt x="689" y="109"/>
                    </a:lnTo>
                    <a:lnTo>
                      <a:pt x="686" y="100"/>
                    </a:lnTo>
                    <a:lnTo>
                      <a:pt x="680" y="88"/>
                    </a:lnTo>
                    <a:lnTo>
                      <a:pt x="676" y="81"/>
                    </a:lnTo>
                    <a:lnTo>
                      <a:pt x="670" y="76"/>
                    </a:lnTo>
                    <a:lnTo>
                      <a:pt x="665" y="71"/>
                    </a:lnTo>
                    <a:lnTo>
                      <a:pt x="657" y="65"/>
                    </a:lnTo>
                    <a:lnTo>
                      <a:pt x="649" y="61"/>
                    </a:lnTo>
                    <a:lnTo>
                      <a:pt x="640" y="59"/>
                    </a:lnTo>
                    <a:lnTo>
                      <a:pt x="628" y="57"/>
                    </a:lnTo>
                    <a:lnTo>
                      <a:pt x="615" y="56"/>
                    </a:lnTo>
                    <a:lnTo>
                      <a:pt x="583" y="56"/>
                    </a:lnTo>
                    <a:lnTo>
                      <a:pt x="583" y="56"/>
                    </a:lnTo>
                    <a:lnTo>
                      <a:pt x="587" y="51"/>
                    </a:lnTo>
                    <a:lnTo>
                      <a:pt x="590" y="45"/>
                    </a:lnTo>
                    <a:lnTo>
                      <a:pt x="591" y="40"/>
                    </a:lnTo>
                    <a:lnTo>
                      <a:pt x="593" y="33"/>
                    </a:lnTo>
                    <a:lnTo>
                      <a:pt x="593" y="33"/>
                    </a:lnTo>
                    <a:lnTo>
                      <a:pt x="591" y="26"/>
                    </a:lnTo>
                    <a:lnTo>
                      <a:pt x="590" y="21"/>
                    </a:lnTo>
                    <a:lnTo>
                      <a:pt x="586" y="14"/>
                    </a:lnTo>
                    <a:lnTo>
                      <a:pt x="582" y="10"/>
                    </a:lnTo>
                    <a:lnTo>
                      <a:pt x="578" y="6"/>
                    </a:lnTo>
                    <a:lnTo>
                      <a:pt x="571" y="2"/>
                    </a:lnTo>
                    <a:lnTo>
                      <a:pt x="566" y="1"/>
                    </a:lnTo>
                    <a:lnTo>
                      <a:pt x="558" y="0"/>
                    </a:lnTo>
                    <a:lnTo>
                      <a:pt x="197" y="0"/>
                    </a:lnTo>
                    <a:lnTo>
                      <a:pt x="197" y="0"/>
                    </a:lnTo>
                    <a:lnTo>
                      <a:pt x="190" y="1"/>
                    </a:lnTo>
                    <a:lnTo>
                      <a:pt x="183" y="2"/>
                    </a:lnTo>
                    <a:lnTo>
                      <a:pt x="178" y="6"/>
                    </a:lnTo>
                    <a:lnTo>
                      <a:pt x="173" y="10"/>
                    </a:lnTo>
                    <a:lnTo>
                      <a:pt x="169" y="14"/>
                    </a:lnTo>
                    <a:lnTo>
                      <a:pt x="166" y="21"/>
                    </a:lnTo>
                    <a:lnTo>
                      <a:pt x="163" y="26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3" y="40"/>
                    </a:lnTo>
                    <a:lnTo>
                      <a:pt x="165" y="45"/>
                    </a:lnTo>
                    <a:lnTo>
                      <a:pt x="167" y="51"/>
                    </a:lnTo>
                    <a:lnTo>
                      <a:pt x="171" y="56"/>
                    </a:lnTo>
                    <a:lnTo>
                      <a:pt x="147" y="56"/>
                    </a:lnTo>
                    <a:lnTo>
                      <a:pt x="147" y="56"/>
                    </a:lnTo>
                    <a:lnTo>
                      <a:pt x="134" y="57"/>
                    </a:lnTo>
                    <a:lnTo>
                      <a:pt x="123" y="59"/>
                    </a:lnTo>
                    <a:lnTo>
                      <a:pt x="112" y="61"/>
                    </a:lnTo>
                    <a:lnTo>
                      <a:pt x="104" y="65"/>
                    </a:lnTo>
                    <a:lnTo>
                      <a:pt x="96" y="71"/>
                    </a:lnTo>
                    <a:lnTo>
                      <a:pt x="91" y="76"/>
                    </a:lnTo>
                    <a:lnTo>
                      <a:pt x="86" y="81"/>
                    </a:lnTo>
                    <a:lnTo>
                      <a:pt x="82" y="88"/>
                    </a:lnTo>
                    <a:lnTo>
                      <a:pt x="75" y="100"/>
                    </a:lnTo>
                    <a:lnTo>
                      <a:pt x="72" y="109"/>
                    </a:lnTo>
                    <a:lnTo>
                      <a:pt x="70" y="120"/>
                    </a:lnTo>
                    <a:lnTo>
                      <a:pt x="4" y="417"/>
                    </a:lnTo>
                    <a:lnTo>
                      <a:pt x="0" y="664"/>
                    </a:lnTo>
                    <a:lnTo>
                      <a:pt x="11" y="686"/>
                    </a:lnTo>
                    <a:lnTo>
                      <a:pt x="11" y="706"/>
                    </a:lnTo>
                    <a:lnTo>
                      <a:pt x="28" y="805"/>
                    </a:lnTo>
                    <a:lnTo>
                      <a:pt x="43" y="805"/>
                    </a:lnTo>
                    <a:lnTo>
                      <a:pt x="43" y="876"/>
                    </a:lnTo>
                    <a:lnTo>
                      <a:pt x="80" y="876"/>
                    </a:lnTo>
                    <a:lnTo>
                      <a:pt x="80" y="805"/>
                    </a:lnTo>
                    <a:lnTo>
                      <a:pt x="373" y="805"/>
                    </a:lnTo>
                    <a:lnTo>
                      <a:pt x="380" y="805"/>
                    </a:lnTo>
                    <a:lnTo>
                      <a:pt x="673" y="805"/>
                    </a:lnTo>
                    <a:lnTo>
                      <a:pt x="673" y="876"/>
                    </a:lnTo>
                    <a:lnTo>
                      <a:pt x="710" y="876"/>
                    </a:lnTo>
                    <a:lnTo>
                      <a:pt x="710" y="805"/>
                    </a:lnTo>
                    <a:lnTo>
                      <a:pt x="727" y="805"/>
                    </a:lnTo>
                    <a:lnTo>
                      <a:pt x="744" y="706"/>
                    </a:lnTo>
                    <a:lnTo>
                      <a:pt x="744" y="686"/>
                    </a:lnTo>
                    <a:lnTo>
                      <a:pt x="755" y="664"/>
                    </a:lnTo>
                    <a:lnTo>
                      <a:pt x="751" y="4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EE8B495E-A5DD-4B26-8606-5F5791A8183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8294342" y="4177056"/>
              <a:ext cx="422602" cy="553598"/>
            </a:xfrm>
            <a:custGeom>
              <a:avLst/>
              <a:gdLst>
                <a:gd name="T0" fmla="*/ 302 w 935"/>
                <a:gd name="T1" fmla="*/ 370 h 1169"/>
                <a:gd name="T2" fmla="*/ 431 w 935"/>
                <a:gd name="T3" fmla="*/ 574 h 1169"/>
                <a:gd name="T4" fmla="*/ 504 w 935"/>
                <a:gd name="T5" fmla="*/ 574 h 1169"/>
                <a:gd name="T6" fmla="*/ 633 w 935"/>
                <a:gd name="T7" fmla="*/ 370 h 1169"/>
                <a:gd name="T8" fmla="*/ 504 w 935"/>
                <a:gd name="T9" fmla="*/ 574 h 1169"/>
                <a:gd name="T10" fmla="*/ 101 w 935"/>
                <a:gd name="T11" fmla="*/ 310 h 1169"/>
                <a:gd name="T12" fmla="*/ 229 w 935"/>
                <a:gd name="T13" fmla="*/ 105 h 1169"/>
                <a:gd name="T14" fmla="*/ 302 w 935"/>
                <a:gd name="T15" fmla="*/ 310 h 1169"/>
                <a:gd name="T16" fmla="*/ 431 w 935"/>
                <a:gd name="T17" fmla="*/ 105 h 1169"/>
                <a:gd name="T18" fmla="*/ 302 w 935"/>
                <a:gd name="T19" fmla="*/ 310 h 1169"/>
                <a:gd name="T20" fmla="*/ 504 w 935"/>
                <a:gd name="T21" fmla="*/ 105 h 1169"/>
                <a:gd name="T22" fmla="*/ 633 w 935"/>
                <a:gd name="T23" fmla="*/ 310 h 1169"/>
                <a:gd name="T24" fmla="*/ 834 w 935"/>
                <a:gd name="T25" fmla="*/ 310 h 1169"/>
                <a:gd name="T26" fmla="*/ 706 w 935"/>
                <a:gd name="T27" fmla="*/ 105 h 1169"/>
                <a:gd name="T28" fmla="*/ 834 w 935"/>
                <a:gd name="T29" fmla="*/ 310 h 1169"/>
                <a:gd name="T30" fmla="*/ 706 w 935"/>
                <a:gd name="T31" fmla="*/ 574 h 1169"/>
                <a:gd name="T32" fmla="*/ 834 w 935"/>
                <a:gd name="T33" fmla="*/ 370 h 1169"/>
                <a:gd name="T34" fmla="*/ 834 w 935"/>
                <a:gd name="T35" fmla="*/ 840 h 1169"/>
                <a:gd name="T36" fmla="*/ 706 w 935"/>
                <a:gd name="T37" fmla="*/ 636 h 1169"/>
                <a:gd name="T38" fmla="*/ 834 w 935"/>
                <a:gd name="T39" fmla="*/ 840 h 1169"/>
                <a:gd name="T40" fmla="*/ 261 w 935"/>
                <a:gd name="T41" fmla="*/ 1078 h 1169"/>
                <a:gd name="T42" fmla="*/ 674 w 935"/>
                <a:gd name="T43" fmla="*/ 1035 h 1169"/>
                <a:gd name="T44" fmla="*/ 229 w 935"/>
                <a:gd name="T45" fmla="*/ 574 h 1169"/>
                <a:gd name="T46" fmla="*/ 101 w 935"/>
                <a:gd name="T47" fmla="*/ 370 h 1169"/>
                <a:gd name="T48" fmla="*/ 229 w 935"/>
                <a:gd name="T49" fmla="*/ 574 h 1169"/>
                <a:gd name="T50" fmla="*/ 101 w 935"/>
                <a:gd name="T51" fmla="*/ 840 h 1169"/>
                <a:gd name="T52" fmla="*/ 229 w 935"/>
                <a:gd name="T53" fmla="*/ 636 h 1169"/>
                <a:gd name="T54" fmla="*/ 302 w 935"/>
                <a:gd name="T55" fmla="*/ 636 h 1169"/>
                <a:gd name="T56" fmla="*/ 633 w 935"/>
                <a:gd name="T57" fmla="*/ 960 h 1169"/>
                <a:gd name="T58" fmla="*/ 302 w 935"/>
                <a:gd name="T59" fmla="*/ 636 h 1169"/>
                <a:gd name="T60" fmla="*/ 0 w 935"/>
                <a:gd name="T61" fmla="*/ 1169 h 1169"/>
                <a:gd name="T62" fmla="*/ 935 w 935"/>
                <a:gd name="T6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35" h="1169">
                  <a:moveTo>
                    <a:pt x="302" y="574"/>
                  </a:moveTo>
                  <a:lnTo>
                    <a:pt x="302" y="370"/>
                  </a:lnTo>
                  <a:lnTo>
                    <a:pt x="431" y="370"/>
                  </a:lnTo>
                  <a:lnTo>
                    <a:pt x="431" y="574"/>
                  </a:lnTo>
                  <a:lnTo>
                    <a:pt x="302" y="574"/>
                  </a:lnTo>
                  <a:close/>
                  <a:moveTo>
                    <a:pt x="504" y="574"/>
                  </a:moveTo>
                  <a:lnTo>
                    <a:pt x="504" y="370"/>
                  </a:lnTo>
                  <a:lnTo>
                    <a:pt x="633" y="370"/>
                  </a:lnTo>
                  <a:lnTo>
                    <a:pt x="633" y="574"/>
                  </a:lnTo>
                  <a:lnTo>
                    <a:pt x="504" y="574"/>
                  </a:lnTo>
                  <a:close/>
                  <a:moveTo>
                    <a:pt x="229" y="310"/>
                  </a:moveTo>
                  <a:lnTo>
                    <a:pt x="101" y="310"/>
                  </a:lnTo>
                  <a:lnTo>
                    <a:pt x="101" y="105"/>
                  </a:lnTo>
                  <a:lnTo>
                    <a:pt x="229" y="105"/>
                  </a:lnTo>
                  <a:lnTo>
                    <a:pt x="229" y="310"/>
                  </a:lnTo>
                  <a:close/>
                  <a:moveTo>
                    <a:pt x="302" y="310"/>
                  </a:moveTo>
                  <a:lnTo>
                    <a:pt x="302" y="105"/>
                  </a:lnTo>
                  <a:lnTo>
                    <a:pt x="431" y="105"/>
                  </a:lnTo>
                  <a:lnTo>
                    <a:pt x="431" y="310"/>
                  </a:lnTo>
                  <a:lnTo>
                    <a:pt x="302" y="310"/>
                  </a:lnTo>
                  <a:close/>
                  <a:moveTo>
                    <a:pt x="504" y="310"/>
                  </a:moveTo>
                  <a:lnTo>
                    <a:pt x="504" y="105"/>
                  </a:lnTo>
                  <a:lnTo>
                    <a:pt x="633" y="105"/>
                  </a:lnTo>
                  <a:lnTo>
                    <a:pt x="633" y="310"/>
                  </a:lnTo>
                  <a:lnTo>
                    <a:pt x="504" y="310"/>
                  </a:lnTo>
                  <a:close/>
                  <a:moveTo>
                    <a:pt x="834" y="310"/>
                  </a:moveTo>
                  <a:lnTo>
                    <a:pt x="706" y="310"/>
                  </a:lnTo>
                  <a:lnTo>
                    <a:pt x="706" y="105"/>
                  </a:lnTo>
                  <a:lnTo>
                    <a:pt x="834" y="105"/>
                  </a:lnTo>
                  <a:lnTo>
                    <a:pt x="834" y="310"/>
                  </a:lnTo>
                  <a:close/>
                  <a:moveTo>
                    <a:pt x="834" y="574"/>
                  </a:moveTo>
                  <a:lnTo>
                    <a:pt x="706" y="574"/>
                  </a:lnTo>
                  <a:lnTo>
                    <a:pt x="706" y="370"/>
                  </a:lnTo>
                  <a:lnTo>
                    <a:pt x="834" y="370"/>
                  </a:lnTo>
                  <a:lnTo>
                    <a:pt x="834" y="574"/>
                  </a:lnTo>
                  <a:close/>
                  <a:moveTo>
                    <a:pt x="834" y="840"/>
                  </a:moveTo>
                  <a:lnTo>
                    <a:pt x="706" y="840"/>
                  </a:lnTo>
                  <a:lnTo>
                    <a:pt x="706" y="636"/>
                  </a:lnTo>
                  <a:lnTo>
                    <a:pt x="834" y="636"/>
                  </a:lnTo>
                  <a:lnTo>
                    <a:pt x="834" y="840"/>
                  </a:lnTo>
                  <a:close/>
                  <a:moveTo>
                    <a:pt x="674" y="1078"/>
                  </a:moveTo>
                  <a:lnTo>
                    <a:pt x="261" y="1078"/>
                  </a:lnTo>
                  <a:lnTo>
                    <a:pt x="261" y="1035"/>
                  </a:lnTo>
                  <a:lnTo>
                    <a:pt x="674" y="1035"/>
                  </a:lnTo>
                  <a:lnTo>
                    <a:pt x="674" y="1078"/>
                  </a:lnTo>
                  <a:close/>
                  <a:moveTo>
                    <a:pt x="229" y="574"/>
                  </a:moveTo>
                  <a:lnTo>
                    <a:pt x="101" y="574"/>
                  </a:lnTo>
                  <a:lnTo>
                    <a:pt x="101" y="370"/>
                  </a:lnTo>
                  <a:lnTo>
                    <a:pt x="229" y="370"/>
                  </a:lnTo>
                  <a:lnTo>
                    <a:pt x="229" y="574"/>
                  </a:lnTo>
                  <a:close/>
                  <a:moveTo>
                    <a:pt x="229" y="840"/>
                  </a:moveTo>
                  <a:lnTo>
                    <a:pt x="101" y="840"/>
                  </a:lnTo>
                  <a:lnTo>
                    <a:pt x="101" y="636"/>
                  </a:lnTo>
                  <a:lnTo>
                    <a:pt x="229" y="636"/>
                  </a:lnTo>
                  <a:lnTo>
                    <a:pt x="229" y="840"/>
                  </a:lnTo>
                  <a:close/>
                  <a:moveTo>
                    <a:pt x="302" y="636"/>
                  </a:moveTo>
                  <a:lnTo>
                    <a:pt x="633" y="636"/>
                  </a:lnTo>
                  <a:lnTo>
                    <a:pt x="633" y="960"/>
                  </a:lnTo>
                  <a:lnTo>
                    <a:pt x="302" y="960"/>
                  </a:lnTo>
                  <a:lnTo>
                    <a:pt x="302" y="636"/>
                  </a:lnTo>
                  <a:close/>
                  <a:moveTo>
                    <a:pt x="0" y="0"/>
                  </a:moveTo>
                  <a:lnTo>
                    <a:pt x="0" y="1169"/>
                  </a:lnTo>
                  <a:lnTo>
                    <a:pt x="935" y="1169"/>
                  </a:lnTo>
                  <a:lnTo>
                    <a:pt x="9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ihandform 28">
              <a:extLst>
                <a:ext uri="{FF2B5EF4-FFF2-40B4-BE49-F238E27FC236}">
                  <a16:creationId xmlns:a16="http://schemas.microsoft.com/office/drawing/2014/main" id="{87D56E7E-26C1-42A9-A167-7DDD0B33E97B}"/>
                </a:ext>
              </a:extLst>
            </p:cNvPr>
            <p:cNvSpPr/>
            <p:nvPr/>
          </p:nvSpPr>
          <p:spPr bwMode="gray">
            <a:xfrm rot="20239983">
              <a:off x="8057773" y="2658575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grpSp>
          <p:nvGrpSpPr>
            <p:cNvPr id="78" name="Gruppieren 3">
              <a:extLst>
                <a:ext uri="{FF2B5EF4-FFF2-40B4-BE49-F238E27FC236}">
                  <a16:creationId xmlns:a16="http://schemas.microsoft.com/office/drawing/2014/main" id="{52F86441-289C-41CC-8486-A787623A093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 bwMode="gray">
            <a:xfrm>
              <a:off x="8134918" y="2930206"/>
              <a:ext cx="718218" cy="362010"/>
              <a:chOff x="4164731" y="2934412"/>
              <a:chExt cx="718218" cy="362010"/>
            </a:xfrm>
            <a:solidFill>
              <a:srgbClr val="505A64"/>
            </a:solidFill>
          </p:grpSpPr>
          <p:sp>
            <p:nvSpPr>
              <p:cNvPr id="81" name="Freeform 51">
                <a:extLst>
                  <a:ext uri="{FF2B5EF4-FFF2-40B4-BE49-F238E27FC236}">
                    <a16:creationId xmlns:a16="http://schemas.microsoft.com/office/drawing/2014/main" id="{D8982726-CF4D-461A-865F-634C9BB2A07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6268" y="2934412"/>
                <a:ext cx="336681" cy="362010"/>
              </a:xfrm>
              <a:custGeom>
                <a:avLst/>
                <a:gdLst>
                  <a:gd name="T0" fmla="*/ 37 w 372"/>
                  <a:gd name="T1" fmla="*/ 25 h 400"/>
                  <a:gd name="T2" fmla="*/ 94 w 372"/>
                  <a:gd name="T3" fmla="*/ 42 h 400"/>
                  <a:gd name="T4" fmla="*/ 85 w 372"/>
                  <a:gd name="T5" fmla="*/ 60 h 400"/>
                  <a:gd name="T6" fmla="*/ 44 w 372"/>
                  <a:gd name="T7" fmla="*/ 45 h 400"/>
                  <a:gd name="T8" fmla="*/ 5 w 372"/>
                  <a:gd name="T9" fmla="*/ 106 h 400"/>
                  <a:gd name="T10" fmla="*/ 0 w 372"/>
                  <a:gd name="T11" fmla="*/ 96 h 400"/>
                  <a:gd name="T12" fmla="*/ 37 w 372"/>
                  <a:gd name="T13" fmla="*/ 25 h 400"/>
                  <a:gd name="T14" fmla="*/ 116 w 372"/>
                  <a:gd name="T15" fmla="*/ 93 h 400"/>
                  <a:gd name="T16" fmla="*/ 93 w 372"/>
                  <a:gd name="T17" fmla="*/ 145 h 400"/>
                  <a:gd name="T18" fmla="*/ 15 w 372"/>
                  <a:gd name="T19" fmla="*/ 128 h 400"/>
                  <a:gd name="T20" fmla="*/ 10 w 372"/>
                  <a:gd name="T21" fmla="*/ 118 h 400"/>
                  <a:gd name="T22" fmla="*/ 78 w 372"/>
                  <a:gd name="T23" fmla="*/ 129 h 400"/>
                  <a:gd name="T24" fmla="*/ 96 w 372"/>
                  <a:gd name="T25" fmla="*/ 86 h 400"/>
                  <a:gd name="T26" fmla="*/ 115 w 372"/>
                  <a:gd name="T27" fmla="*/ 93 h 400"/>
                  <a:gd name="T28" fmla="*/ 116 w 372"/>
                  <a:gd name="T29" fmla="*/ 93 h 400"/>
                  <a:gd name="T30" fmla="*/ 178 w 372"/>
                  <a:gd name="T31" fmla="*/ 273 h 400"/>
                  <a:gd name="T32" fmla="*/ 325 w 372"/>
                  <a:gd name="T33" fmla="*/ 273 h 400"/>
                  <a:gd name="T34" fmla="*/ 325 w 372"/>
                  <a:gd name="T35" fmla="*/ 400 h 400"/>
                  <a:gd name="T36" fmla="*/ 178 w 372"/>
                  <a:gd name="T37" fmla="*/ 400 h 400"/>
                  <a:gd name="T38" fmla="*/ 178 w 372"/>
                  <a:gd name="T39" fmla="*/ 273 h 400"/>
                  <a:gd name="T40" fmla="*/ 318 w 372"/>
                  <a:gd name="T41" fmla="*/ 26 h 400"/>
                  <a:gd name="T42" fmla="*/ 345 w 372"/>
                  <a:gd name="T43" fmla="*/ 0 h 400"/>
                  <a:gd name="T44" fmla="*/ 372 w 372"/>
                  <a:gd name="T45" fmla="*/ 26 h 400"/>
                  <a:gd name="T46" fmla="*/ 345 w 372"/>
                  <a:gd name="T47" fmla="*/ 53 h 400"/>
                  <a:gd name="T48" fmla="*/ 318 w 372"/>
                  <a:gd name="T49" fmla="*/ 26 h 400"/>
                  <a:gd name="T50" fmla="*/ 92 w 372"/>
                  <a:gd name="T51" fmla="*/ 63 h 400"/>
                  <a:gd name="T52" fmla="*/ 115 w 372"/>
                  <a:gd name="T53" fmla="*/ 40 h 400"/>
                  <a:gd name="T54" fmla="*/ 138 w 372"/>
                  <a:gd name="T55" fmla="*/ 63 h 400"/>
                  <a:gd name="T56" fmla="*/ 115 w 372"/>
                  <a:gd name="T57" fmla="*/ 86 h 400"/>
                  <a:gd name="T58" fmla="*/ 92 w 372"/>
                  <a:gd name="T59" fmla="*/ 63 h 400"/>
                  <a:gd name="T60" fmla="*/ 138 w 372"/>
                  <a:gd name="T61" fmla="*/ 206 h 400"/>
                  <a:gd name="T62" fmla="*/ 192 w 372"/>
                  <a:gd name="T63" fmla="*/ 153 h 400"/>
                  <a:gd name="T64" fmla="*/ 233 w 372"/>
                  <a:gd name="T65" fmla="*/ 173 h 400"/>
                  <a:gd name="T66" fmla="*/ 325 w 372"/>
                  <a:gd name="T67" fmla="*/ 266 h 400"/>
                  <a:gd name="T68" fmla="*/ 178 w 372"/>
                  <a:gd name="T69" fmla="*/ 266 h 400"/>
                  <a:gd name="T70" fmla="*/ 160 w 372"/>
                  <a:gd name="T71" fmla="*/ 249 h 400"/>
                  <a:gd name="T72" fmla="*/ 138 w 372"/>
                  <a:gd name="T73" fmla="*/ 206 h 400"/>
                  <a:gd name="T74" fmla="*/ 175 w 372"/>
                  <a:gd name="T75" fmla="*/ 149 h 400"/>
                  <a:gd name="T76" fmla="*/ 312 w 372"/>
                  <a:gd name="T77" fmla="*/ 21 h 400"/>
                  <a:gd name="T78" fmla="*/ 312 w 372"/>
                  <a:gd name="T79" fmla="*/ 26 h 400"/>
                  <a:gd name="T80" fmla="*/ 345 w 372"/>
                  <a:gd name="T81" fmla="*/ 60 h 400"/>
                  <a:gd name="T82" fmla="*/ 356 w 372"/>
                  <a:gd name="T83" fmla="*/ 58 h 400"/>
                  <a:gd name="T84" fmla="*/ 264 w 372"/>
                  <a:gd name="T85" fmla="*/ 195 h 400"/>
                  <a:gd name="T86" fmla="*/ 230 w 372"/>
                  <a:gd name="T87" fmla="*/ 160 h 400"/>
                  <a:gd name="T88" fmla="*/ 192 w 372"/>
                  <a:gd name="T89" fmla="*/ 146 h 400"/>
                  <a:gd name="T90" fmla="*/ 175 w 372"/>
                  <a:gd name="T91" fmla="*/ 149 h 400"/>
                  <a:gd name="T92" fmla="*/ 129 w 372"/>
                  <a:gd name="T93" fmla="*/ 37 h 400"/>
                  <a:gd name="T94" fmla="*/ 321 w 372"/>
                  <a:gd name="T95" fmla="*/ 3 h 400"/>
                  <a:gd name="T96" fmla="*/ 253 w 372"/>
                  <a:gd name="T97" fmla="*/ 67 h 400"/>
                  <a:gd name="T98" fmla="*/ 137 w 372"/>
                  <a:gd name="T99" fmla="*/ 83 h 400"/>
                  <a:gd name="T100" fmla="*/ 145 w 372"/>
                  <a:gd name="T101" fmla="*/ 63 h 400"/>
                  <a:gd name="T102" fmla="*/ 129 w 372"/>
                  <a:gd name="T103" fmla="*/ 37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72" h="400">
                    <a:moveTo>
                      <a:pt x="37" y="25"/>
                    </a:moveTo>
                    <a:cubicBezTo>
                      <a:pt x="94" y="42"/>
                      <a:pt x="94" y="42"/>
                      <a:pt x="94" y="42"/>
                    </a:cubicBezTo>
                    <a:cubicBezTo>
                      <a:pt x="89" y="46"/>
                      <a:pt x="86" y="53"/>
                      <a:pt x="85" y="60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5" y="106"/>
                      <a:pt x="5" y="106"/>
                      <a:pt x="5" y="106"/>
                    </a:cubicBezTo>
                    <a:cubicBezTo>
                      <a:pt x="0" y="96"/>
                      <a:pt x="0" y="96"/>
                      <a:pt x="0" y="96"/>
                    </a:cubicBezTo>
                    <a:lnTo>
                      <a:pt x="37" y="25"/>
                    </a:lnTo>
                    <a:close/>
                    <a:moveTo>
                      <a:pt x="116" y="93"/>
                    </a:moveTo>
                    <a:cubicBezTo>
                      <a:pt x="93" y="145"/>
                      <a:pt x="93" y="145"/>
                      <a:pt x="93" y="145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0" y="118"/>
                      <a:pt x="10" y="118"/>
                      <a:pt x="10" y="118"/>
                    </a:cubicBezTo>
                    <a:cubicBezTo>
                      <a:pt x="78" y="129"/>
                      <a:pt x="78" y="129"/>
                      <a:pt x="78" y="129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101" y="90"/>
                      <a:pt x="108" y="93"/>
                      <a:pt x="115" y="93"/>
                    </a:cubicBezTo>
                    <a:cubicBezTo>
                      <a:pt x="115" y="93"/>
                      <a:pt x="116" y="93"/>
                      <a:pt x="116" y="93"/>
                    </a:cubicBezTo>
                    <a:close/>
                    <a:moveTo>
                      <a:pt x="178" y="273"/>
                    </a:move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5" y="400"/>
                      <a:pt x="325" y="400"/>
                      <a:pt x="325" y="400"/>
                    </a:cubicBezTo>
                    <a:cubicBezTo>
                      <a:pt x="178" y="400"/>
                      <a:pt x="178" y="400"/>
                      <a:pt x="178" y="400"/>
                    </a:cubicBezTo>
                    <a:lnTo>
                      <a:pt x="178" y="273"/>
                    </a:lnTo>
                    <a:close/>
                    <a:moveTo>
                      <a:pt x="318" y="26"/>
                    </a:moveTo>
                    <a:cubicBezTo>
                      <a:pt x="318" y="12"/>
                      <a:pt x="330" y="0"/>
                      <a:pt x="345" y="0"/>
                    </a:cubicBezTo>
                    <a:cubicBezTo>
                      <a:pt x="360" y="0"/>
                      <a:pt x="372" y="12"/>
                      <a:pt x="372" y="26"/>
                    </a:cubicBezTo>
                    <a:cubicBezTo>
                      <a:pt x="372" y="41"/>
                      <a:pt x="360" y="53"/>
                      <a:pt x="345" y="53"/>
                    </a:cubicBezTo>
                    <a:cubicBezTo>
                      <a:pt x="330" y="53"/>
                      <a:pt x="318" y="41"/>
                      <a:pt x="318" y="26"/>
                    </a:cubicBezTo>
                    <a:close/>
                    <a:moveTo>
                      <a:pt x="92" y="63"/>
                    </a:moveTo>
                    <a:cubicBezTo>
                      <a:pt x="92" y="50"/>
                      <a:pt x="102" y="40"/>
                      <a:pt x="115" y="40"/>
                    </a:cubicBezTo>
                    <a:cubicBezTo>
                      <a:pt x="128" y="40"/>
                      <a:pt x="138" y="50"/>
                      <a:pt x="138" y="63"/>
                    </a:cubicBezTo>
                    <a:cubicBezTo>
                      <a:pt x="138" y="76"/>
                      <a:pt x="128" y="86"/>
                      <a:pt x="115" y="86"/>
                    </a:cubicBezTo>
                    <a:cubicBezTo>
                      <a:pt x="102" y="86"/>
                      <a:pt x="92" y="76"/>
                      <a:pt x="92" y="63"/>
                    </a:cubicBezTo>
                    <a:close/>
                    <a:moveTo>
                      <a:pt x="138" y="206"/>
                    </a:moveTo>
                    <a:cubicBezTo>
                      <a:pt x="138" y="177"/>
                      <a:pt x="162" y="153"/>
                      <a:pt x="192" y="153"/>
                    </a:cubicBezTo>
                    <a:cubicBezTo>
                      <a:pt x="208" y="153"/>
                      <a:pt x="224" y="161"/>
                      <a:pt x="233" y="173"/>
                    </a:cubicBezTo>
                    <a:cubicBezTo>
                      <a:pt x="325" y="266"/>
                      <a:pt x="325" y="266"/>
                      <a:pt x="325" y="266"/>
                    </a:cubicBezTo>
                    <a:cubicBezTo>
                      <a:pt x="178" y="266"/>
                      <a:pt x="178" y="266"/>
                      <a:pt x="178" y="266"/>
                    </a:cubicBezTo>
                    <a:cubicBezTo>
                      <a:pt x="160" y="249"/>
                      <a:pt x="160" y="249"/>
                      <a:pt x="160" y="249"/>
                    </a:cubicBezTo>
                    <a:cubicBezTo>
                      <a:pt x="147" y="240"/>
                      <a:pt x="138" y="224"/>
                      <a:pt x="138" y="206"/>
                    </a:cubicBezTo>
                    <a:close/>
                    <a:moveTo>
                      <a:pt x="175" y="149"/>
                    </a:move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2"/>
                      <a:pt x="312" y="24"/>
                      <a:pt x="312" y="26"/>
                    </a:cubicBezTo>
                    <a:cubicBezTo>
                      <a:pt x="312" y="45"/>
                      <a:pt x="327" y="60"/>
                      <a:pt x="345" y="60"/>
                    </a:cubicBezTo>
                    <a:cubicBezTo>
                      <a:pt x="349" y="60"/>
                      <a:pt x="352" y="59"/>
                      <a:pt x="356" y="58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64" y="195"/>
                      <a:pt x="233" y="163"/>
                      <a:pt x="230" y="160"/>
                    </a:cubicBezTo>
                    <a:cubicBezTo>
                      <a:pt x="220" y="152"/>
                      <a:pt x="206" y="146"/>
                      <a:pt x="192" y="146"/>
                    </a:cubicBezTo>
                    <a:cubicBezTo>
                      <a:pt x="186" y="146"/>
                      <a:pt x="181" y="147"/>
                      <a:pt x="175" y="149"/>
                    </a:cubicBezTo>
                    <a:close/>
                    <a:moveTo>
                      <a:pt x="129" y="37"/>
                    </a:moveTo>
                    <a:cubicBezTo>
                      <a:pt x="321" y="3"/>
                      <a:pt x="321" y="3"/>
                      <a:pt x="321" y="3"/>
                    </a:cubicBezTo>
                    <a:cubicBezTo>
                      <a:pt x="253" y="67"/>
                      <a:pt x="253" y="67"/>
                      <a:pt x="253" y="67"/>
                    </a:cubicBezTo>
                    <a:cubicBezTo>
                      <a:pt x="137" y="83"/>
                      <a:pt x="137" y="83"/>
                      <a:pt x="137" y="83"/>
                    </a:cubicBezTo>
                    <a:cubicBezTo>
                      <a:pt x="142" y="78"/>
                      <a:pt x="145" y="71"/>
                      <a:pt x="145" y="63"/>
                    </a:cubicBezTo>
                    <a:cubicBezTo>
                      <a:pt x="145" y="52"/>
                      <a:pt x="139" y="42"/>
                      <a:pt x="1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2">
                <a:extLst>
                  <a:ext uri="{FF2B5EF4-FFF2-40B4-BE49-F238E27FC236}">
                    <a16:creationId xmlns:a16="http://schemas.microsoft.com/office/drawing/2014/main" id="{71A86086-07B2-4821-BCAB-9DAAE67A0B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4419" y="2953410"/>
                <a:ext cx="90239" cy="82323"/>
              </a:xfrm>
              <a:custGeom>
                <a:avLst/>
                <a:gdLst>
                  <a:gd name="T0" fmla="*/ 92 w 100"/>
                  <a:gd name="T1" fmla="*/ 91 h 91"/>
                  <a:gd name="T2" fmla="*/ 51 w 100"/>
                  <a:gd name="T3" fmla="*/ 28 h 91"/>
                  <a:gd name="T4" fmla="*/ 12 w 100"/>
                  <a:gd name="T5" fmla="*/ 42 h 91"/>
                  <a:gd name="T6" fmla="*/ 12 w 100"/>
                  <a:gd name="T7" fmla="*/ 38 h 91"/>
                  <a:gd name="T8" fmla="*/ 4 w 100"/>
                  <a:gd name="T9" fmla="*/ 22 h 91"/>
                  <a:gd name="T10" fmla="*/ 0 w 100"/>
                  <a:gd name="T11" fmla="*/ 18 h 91"/>
                  <a:gd name="T12" fmla="*/ 60 w 100"/>
                  <a:gd name="T13" fmla="*/ 0 h 91"/>
                  <a:gd name="T14" fmla="*/ 100 w 100"/>
                  <a:gd name="T15" fmla="*/ 75 h 91"/>
                  <a:gd name="T16" fmla="*/ 92 w 100"/>
                  <a:gd name="T17" fmla="*/ 91 h 91"/>
                  <a:gd name="T18" fmla="*/ 53 w 100"/>
                  <a:gd name="T19" fmla="*/ 20 h 91"/>
                  <a:gd name="T20" fmla="*/ 91 w 100"/>
                  <a:gd name="T21" fmla="*/ 78 h 91"/>
                  <a:gd name="T22" fmla="*/ 92 w 100"/>
                  <a:gd name="T23" fmla="*/ 75 h 91"/>
                  <a:gd name="T24" fmla="*/ 57 w 100"/>
                  <a:gd name="T25" fmla="*/ 8 h 91"/>
                  <a:gd name="T26" fmla="*/ 12 w 100"/>
                  <a:gd name="T27" fmla="*/ 21 h 91"/>
                  <a:gd name="T28" fmla="*/ 18 w 100"/>
                  <a:gd name="T29" fmla="*/ 33 h 91"/>
                  <a:gd name="T30" fmla="*/ 53 w 100"/>
                  <a:gd name="T31" fmla="*/ 2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91">
                    <a:moveTo>
                      <a:pt x="92" y="91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1" y="32"/>
                      <a:pt x="8" y="26"/>
                      <a:pt x="4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100" y="75"/>
                      <a:pt x="100" y="75"/>
                      <a:pt x="100" y="75"/>
                    </a:cubicBezTo>
                    <a:lnTo>
                      <a:pt x="92" y="91"/>
                    </a:lnTo>
                    <a:close/>
                    <a:moveTo>
                      <a:pt x="53" y="20"/>
                    </a:move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5"/>
                      <a:pt x="92" y="75"/>
                      <a:pt x="92" y="75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5" y="25"/>
                      <a:pt x="17" y="29"/>
                      <a:pt x="18" y="33"/>
                    </a:cubicBezTo>
                    <a:lnTo>
                      <a:pt x="53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3">
                <a:extLst>
                  <a:ext uri="{FF2B5EF4-FFF2-40B4-BE49-F238E27FC236}">
                    <a16:creationId xmlns:a16="http://schemas.microsoft.com/office/drawing/2014/main" id="{396494E3-D8BB-4069-8C7D-0DA7D9418F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2783" y="3011458"/>
                <a:ext cx="103959" cy="58048"/>
              </a:xfrm>
              <a:custGeom>
                <a:avLst/>
                <a:gdLst>
                  <a:gd name="T0" fmla="*/ 25 w 115"/>
                  <a:gd name="T1" fmla="*/ 64 h 64"/>
                  <a:gd name="T2" fmla="*/ 0 w 115"/>
                  <a:gd name="T3" fmla="*/ 8 h 64"/>
                  <a:gd name="T4" fmla="*/ 6 w 115"/>
                  <a:gd name="T5" fmla="*/ 9 h 64"/>
                  <a:gd name="T6" fmla="*/ 7 w 115"/>
                  <a:gd name="T7" fmla="*/ 9 h 64"/>
                  <a:gd name="T8" fmla="*/ 24 w 115"/>
                  <a:gd name="T9" fmla="*/ 2 h 64"/>
                  <a:gd name="T10" fmla="*/ 27 w 115"/>
                  <a:gd name="T11" fmla="*/ 0 h 64"/>
                  <a:gd name="T12" fmla="*/ 44 w 115"/>
                  <a:gd name="T13" fmla="*/ 40 h 64"/>
                  <a:gd name="T14" fmla="*/ 115 w 115"/>
                  <a:gd name="T15" fmla="*/ 29 h 64"/>
                  <a:gd name="T16" fmla="*/ 108 w 115"/>
                  <a:gd name="T17" fmla="*/ 46 h 64"/>
                  <a:gd name="T18" fmla="*/ 25 w 115"/>
                  <a:gd name="T19" fmla="*/ 64 h 64"/>
                  <a:gd name="T20" fmla="*/ 11 w 115"/>
                  <a:gd name="T21" fmla="*/ 15 h 64"/>
                  <a:gd name="T22" fmla="*/ 29 w 115"/>
                  <a:gd name="T23" fmla="*/ 56 h 64"/>
                  <a:gd name="T24" fmla="*/ 103 w 115"/>
                  <a:gd name="T25" fmla="*/ 40 h 64"/>
                  <a:gd name="T26" fmla="*/ 104 w 115"/>
                  <a:gd name="T27" fmla="*/ 37 h 64"/>
                  <a:gd name="T28" fmla="*/ 40 w 115"/>
                  <a:gd name="T29" fmla="*/ 47 h 64"/>
                  <a:gd name="T30" fmla="*/ 24 w 115"/>
                  <a:gd name="T31" fmla="*/ 10 h 64"/>
                  <a:gd name="T32" fmla="*/ 11 w 115"/>
                  <a:gd name="T33" fmla="*/ 1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5" h="64">
                    <a:moveTo>
                      <a:pt x="25" y="64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13" y="9"/>
                      <a:pt x="19" y="6"/>
                      <a:pt x="24" y="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08" y="46"/>
                      <a:pt x="108" y="46"/>
                      <a:pt x="108" y="46"/>
                    </a:cubicBezTo>
                    <a:lnTo>
                      <a:pt x="25" y="64"/>
                    </a:lnTo>
                    <a:close/>
                    <a:moveTo>
                      <a:pt x="11" y="15"/>
                    </a:moveTo>
                    <a:cubicBezTo>
                      <a:pt x="29" y="56"/>
                      <a:pt x="29" y="56"/>
                      <a:pt x="29" y="56"/>
                    </a:cubicBezTo>
                    <a:cubicBezTo>
                      <a:pt x="103" y="40"/>
                      <a:pt x="103" y="40"/>
                      <a:pt x="103" y="40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0" y="13"/>
                      <a:pt x="15" y="15"/>
                      <a:pt x="11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1F87414D-EBAF-4480-A86C-E11E67A8720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close/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5">
                <a:extLst>
                  <a:ext uri="{FF2B5EF4-FFF2-40B4-BE49-F238E27FC236}">
                    <a16:creationId xmlns:a16="http://schemas.microsoft.com/office/drawing/2014/main" id="{EAD1AC02-DBA4-4545-B155-E78AF5504A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6">
                <a:extLst>
                  <a:ext uri="{FF2B5EF4-FFF2-40B4-BE49-F238E27FC236}">
                    <a16:creationId xmlns:a16="http://schemas.microsoft.com/office/drawing/2014/main" id="{D9029E94-F66B-4F2E-83EA-24A8DD6A0E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5338" y="2934412"/>
                <a:ext cx="48022" cy="48022"/>
              </a:xfrm>
              <a:custGeom>
                <a:avLst/>
                <a:gdLst>
                  <a:gd name="T0" fmla="*/ 26 w 53"/>
                  <a:gd name="T1" fmla="*/ 6 h 53"/>
                  <a:gd name="T2" fmla="*/ 46 w 53"/>
                  <a:gd name="T3" fmla="*/ 26 h 53"/>
                  <a:gd name="T4" fmla="*/ 26 w 53"/>
                  <a:gd name="T5" fmla="*/ 46 h 53"/>
                  <a:gd name="T6" fmla="*/ 6 w 53"/>
                  <a:gd name="T7" fmla="*/ 26 h 53"/>
                  <a:gd name="T8" fmla="*/ 26 w 53"/>
                  <a:gd name="T9" fmla="*/ 6 h 53"/>
                  <a:gd name="T10" fmla="*/ 26 w 53"/>
                  <a:gd name="T11" fmla="*/ 0 h 53"/>
                  <a:gd name="T12" fmla="*/ 0 w 53"/>
                  <a:gd name="T13" fmla="*/ 26 h 53"/>
                  <a:gd name="T14" fmla="*/ 26 w 53"/>
                  <a:gd name="T15" fmla="*/ 53 h 53"/>
                  <a:gd name="T16" fmla="*/ 53 w 53"/>
                  <a:gd name="T17" fmla="*/ 26 h 53"/>
                  <a:gd name="T18" fmla="*/ 26 w 53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3">
                    <a:moveTo>
                      <a:pt x="26" y="6"/>
                    </a:moveTo>
                    <a:cubicBezTo>
                      <a:pt x="37" y="6"/>
                      <a:pt x="46" y="15"/>
                      <a:pt x="46" y="26"/>
                    </a:cubicBezTo>
                    <a:cubicBezTo>
                      <a:pt x="46" y="37"/>
                      <a:pt x="37" y="46"/>
                      <a:pt x="26" y="46"/>
                    </a:cubicBezTo>
                    <a:cubicBezTo>
                      <a:pt x="15" y="46"/>
                      <a:pt x="6" y="37"/>
                      <a:pt x="6" y="26"/>
                    </a:cubicBezTo>
                    <a:cubicBezTo>
                      <a:pt x="6" y="15"/>
                      <a:pt x="15" y="6"/>
                      <a:pt x="26" y="6"/>
                    </a:cubicBezTo>
                    <a:moveTo>
                      <a:pt x="26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6" y="53"/>
                    </a:cubicBezTo>
                    <a:cubicBezTo>
                      <a:pt x="41" y="53"/>
                      <a:pt x="53" y="41"/>
                      <a:pt x="53" y="26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id="{AFA21E7A-2359-403A-AD0C-1FA157FB39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06424" y="2970824"/>
                <a:ext cx="42217" cy="41689"/>
              </a:xfrm>
              <a:custGeom>
                <a:avLst/>
                <a:gdLst>
                  <a:gd name="T0" fmla="*/ 23 w 47"/>
                  <a:gd name="T1" fmla="*/ 6 h 46"/>
                  <a:gd name="T2" fmla="*/ 40 w 47"/>
                  <a:gd name="T3" fmla="*/ 23 h 46"/>
                  <a:gd name="T4" fmla="*/ 23 w 47"/>
                  <a:gd name="T5" fmla="*/ 40 h 46"/>
                  <a:gd name="T6" fmla="*/ 7 w 47"/>
                  <a:gd name="T7" fmla="*/ 23 h 46"/>
                  <a:gd name="T8" fmla="*/ 23 w 47"/>
                  <a:gd name="T9" fmla="*/ 6 h 46"/>
                  <a:gd name="T10" fmla="*/ 23 w 47"/>
                  <a:gd name="T11" fmla="*/ 0 h 46"/>
                  <a:gd name="T12" fmla="*/ 0 w 47"/>
                  <a:gd name="T13" fmla="*/ 23 h 46"/>
                  <a:gd name="T14" fmla="*/ 23 w 47"/>
                  <a:gd name="T15" fmla="*/ 46 h 46"/>
                  <a:gd name="T16" fmla="*/ 47 w 47"/>
                  <a:gd name="T17" fmla="*/ 23 h 46"/>
                  <a:gd name="T18" fmla="*/ 23 w 47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23" y="6"/>
                    </a:moveTo>
                    <a:cubicBezTo>
                      <a:pt x="32" y="6"/>
                      <a:pt x="40" y="14"/>
                      <a:pt x="40" y="23"/>
                    </a:cubicBezTo>
                    <a:cubicBezTo>
                      <a:pt x="40" y="32"/>
                      <a:pt x="32" y="40"/>
                      <a:pt x="23" y="40"/>
                    </a:cubicBezTo>
                    <a:cubicBezTo>
                      <a:pt x="14" y="40"/>
                      <a:pt x="7" y="32"/>
                      <a:pt x="7" y="23"/>
                    </a:cubicBezTo>
                    <a:cubicBezTo>
                      <a:pt x="7" y="14"/>
                      <a:pt x="14" y="6"/>
                      <a:pt x="23" y="6"/>
                    </a:cubicBezTo>
                    <a:moveTo>
                      <a:pt x="23" y="0"/>
                    </a:moveTo>
                    <a:cubicBezTo>
                      <a:pt x="10" y="0"/>
                      <a:pt x="0" y="10"/>
                      <a:pt x="0" y="23"/>
                    </a:cubicBezTo>
                    <a:cubicBezTo>
                      <a:pt x="0" y="36"/>
                      <a:pt x="10" y="46"/>
                      <a:pt x="23" y="46"/>
                    </a:cubicBezTo>
                    <a:cubicBezTo>
                      <a:pt x="36" y="46"/>
                      <a:pt x="47" y="36"/>
                      <a:pt x="47" y="23"/>
                    </a:cubicBezTo>
                    <a:cubicBezTo>
                      <a:pt x="47" y="10"/>
                      <a:pt x="36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id="{1864523D-C766-4A6A-90A5-311EDB1543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072672"/>
                <a:ext cx="169396" cy="102376"/>
              </a:xfrm>
              <a:custGeom>
                <a:avLst/>
                <a:gdLst>
                  <a:gd name="T0" fmla="*/ 134 w 187"/>
                  <a:gd name="T1" fmla="*/ 7 h 113"/>
                  <a:gd name="T2" fmla="*/ 180 w 187"/>
                  <a:gd name="T3" fmla="*/ 53 h 113"/>
                  <a:gd name="T4" fmla="*/ 161 w 187"/>
                  <a:gd name="T5" fmla="*/ 91 h 113"/>
                  <a:gd name="T6" fmla="*/ 161 w 187"/>
                  <a:gd name="T7" fmla="*/ 91 h 113"/>
                  <a:gd name="T8" fmla="*/ 161 w 187"/>
                  <a:gd name="T9" fmla="*/ 91 h 113"/>
                  <a:gd name="T10" fmla="*/ 144 w 187"/>
                  <a:gd name="T11" fmla="*/ 107 h 113"/>
                  <a:gd name="T12" fmla="*/ 16 w 187"/>
                  <a:gd name="T13" fmla="*/ 107 h 113"/>
                  <a:gd name="T14" fmla="*/ 97 w 187"/>
                  <a:gd name="T15" fmla="*/ 25 h 113"/>
                  <a:gd name="T16" fmla="*/ 97 w 187"/>
                  <a:gd name="T17" fmla="*/ 25 h 113"/>
                  <a:gd name="T18" fmla="*/ 97 w 187"/>
                  <a:gd name="T19" fmla="*/ 25 h 113"/>
                  <a:gd name="T20" fmla="*/ 134 w 187"/>
                  <a:gd name="T21" fmla="*/ 7 h 113"/>
                  <a:gd name="T22" fmla="*/ 134 w 187"/>
                  <a:gd name="T23" fmla="*/ 0 h 113"/>
                  <a:gd name="T24" fmla="*/ 92 w 187"/>
                  <a:gd name="T25" fmla="*/ 20 h 113"/>
                  <a:gd name="T26" fmla="*/ 0 w 187"/>
                  <a:gd name="T27" fmla="*/ 113 h 113"/>
                  <a:gd name="T28" fmla="*/ 147 w 187"/>
                  <a:gd name="T29" fmla="*/ 113 h 113"/>
                  <a:gd name="T30" fmla="*/ 165 w 187"/>
                  <a:gd name="T31" fmla="*/ 96 h 113"/>
                  <a:gd name="T32" fmla="*/ 187 w 187"/>
                  <a:gd name="T33" fmla="*/ 53 h 113"/>
                  <a:gd name="T34" fmla="*/ 134 w 187"/>
                  <a:gd name="T3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7" h="113">
                    <a:moveTo>
                      <a:pt x="134" y="7"/>
                    </a:moveTo>
                    <a:cubicBezTo>
                      <a:pt x="159" y="7"/>
                      <a:pt x="180" y="28"/>
                      <a:pt x="180" y="53"/>
                    </a:cubicBezTo>
                    <a:cubicBezTo>
                      <a:pt x="180" y="67"/>
                      <a:pt x="174" y="80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44" y="107"/>
                      <a:pt x="144" y="107"/>
                      <a:pt x="144" y="107"/>
                    </a:cubicBezTo>
                    <a:cubicBezTo>
                      <a:pt x="16" y="107"/>
                      <a:pt x="16" y="107"/>
                      <a:pt x="16" y="107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108" y="12"/>
                      <a:pt x="120" y="7"/>
                      <a:pt x="134" y="7"/>
                    </a:cubicBezTo>
                    <a:moveTo>
                      <a:pt x="134" y="0"/>
                    </a:moveTo>
                    <a:cubicBezTo>
                      <a:pt x="117" y="0"/>
                      <a:pt x="103" y="8"/>
                      <a:pt x="92" y="2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47" y="113"/>
                      <a:pt x="147" y="113"/>
                      <a:pt x="147" y="113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78" y="85"/>
                      <a:pt x="187" y="71"/>
                      <a:pt x="187" y="53"/>
                    </a:cubicBezTo>
                    <a:cubicBezTo>
                      <a:pt x="187" y="24"/>
                      <a:pt x="163" y="0"/>
                      <a:pt x="1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id="{FF5C3EF6-43C5-408E-8A0A-CB2318394FF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09059" y="2953410"/>
                <a:ext cx="163591" cy="157258"/>
              </a:xfrm>
              <a:custGeom>
                <a:avLst/>
                <a:gdLst>
                  <a:gd name="T0" fmla="*/ 50 w 181"/>
                  <a:gd name="T1" fmla="*/ 14 h 174"/>
                  <a:gd name="T2" fmla="*/ 162 w 181"/>
                  <a:gd name="T3" fmla="*/ 119 h 174"/>
                  <a:gd name="T4" fmla="*/ 122 w 181"/>
                  <a:gd name="T5" fmla="*/ 134 h 174"/>
                  <a:gd name="T6" fmla="*/ 93 w 181"/>
                  <a:gd name="T7" fmla="*/ 163 h 174"/>
                  <a:gd name="T8" fmla="*/ 14 w 181"/>
                  <a:gd name="T9" fmla="*/ 45 h 174"/>
                  <a:gd name="T10" fmla="*/ 50 w 181"/>
                  <a:gd name="T11" fmla="*/ 14 h 174"/>
                  <a:gd name="T12" fmla="*/ 44 w 181"/>
                  <a:gd name="T13" fmla="*/ 0 h 174"/>
                  <a:gd name="T14" fmla="*/ 45 w 181"/>
                  <a:gd name="T15" fmla="*/ 5 h 174"/>
                  <a:gd name="T16" fmla="*/ 11 w 181"/>
                  <a:gd name="T17" fmla="*/ 39 h 174"/>
                  <a:gd name="T18" fmla="*/ 0 w 181"/>
                  <a:gd name="T19" fmla="*/ 37 h 174"/>
                  <a:gd name="T20" fmla="*/ 92 w 181"/>
                  <a:gd name="T21" fmla="*/ 174 h 174"/>
                  <a:gd name="T22" fmla="*/ 126 w 181"/>
                  <a:gd name="T23" fmla="*/ 139 h 174"/>
                  <a:gd name="T24" fmla="*/ 165 w 181"/>
                  <a:gd name="T25" fmla="*/ 125 h 174"/>
                  <a:gd name="T26" fmla="*/ 181 w 181"/>
                  <a:gd name="T27" fmla="*/ 128 h 174"/>
                  <a:gd name="T28" fmla="*/ 44 w 181"/>
                  <a:gd name="T2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1" h="174">
                    <a:moveTo>
                      <a:pt x="50" y="14"/>
                    </a:move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47" y="119"/>
                      <a:pt x="133" y="125"/>
                      <a:pt x="122" y="134"/>
                    </a:cubicBezTo>
                    <a:cubicBezTo>
                      <a:pt x="119" y="136"/>
                      <a:pt x="103" y="153"/>
                      <a:pt x="93" y="163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2" y="44"/>
                      <a:pt x="46" y="31"/>
                      <a:pt x="50" y="14"/>
                    </a:cubicBezTo>
                    <a:moveTo>
                      <a:pt x="44" y="0"/>
                    </a:moveTo>
                    <a:cubicBezTo>
                      <a:pt x="44" y="1"/>
                      <a:pt x="45" y="3"/>
                      <a:pt x="45" y="5"/>
                    </a:cubicBezTo>
                    <a:cubicBezTo>
                      <a:pt x="45" y="24"/>
                      <a:pt x="30" y="39"/>
                      <a:pt x="11" y="39"/>
                    </a:cubicBezTo>
                    <a:cubicBezTo>
                      <a:pt x="7" y="39"/>
                      <a:pt x="4" y="38"/>
                      <a:pt x="0" y="37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123" y="142"/>
                      <a:pt x="126" y="139"/>
                    </a:cubicBezTo>
                    <a:cubicBezTo>
                      <a:pt x="137" y="131"/>
                      <a:pt x="150" y="125"/>
                      <a:pt x="165" y="125"/>
                    </a:cubicBezTo>
                    <a:cubicBezTo>
                      <a:pt x="170" y="125"/>
                      <a:pt x="176" y="126"/>
                      <a:pt x="181" y="128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id="{BCBE0ADF-9F9D-488B-B02F-8EDCA8FA99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41777" y="2937051"/>
                <a:ext cx="172562" cy="72297"/>
              </a:xfrm>
              <a:custGeom>
                <a:avLst/>
                <a:gdLst>
                  <a:gd name="T0" fmla="*/ 20 w 191"/>
                  <a:gd name="T1" fmla="*/ 11 h 80"/>
                  <a:gd name="T2" fmla="*/ 176 w 191"/>
                  <a:gd name="T3" fmla="*/ 38 h 80"/>
                  <a:gd name="T4" fmla="*/ 169 w 191"/>
                  <a:gd name="T5" fmla="*/ 60 h 80"/>
                  <a:gd name="T6" fmla="*/ 171 w 191"/>
                  <a:gd name="T7" fmla="*/ 72 h 80"/>
                  <a:gd name="T8" fmla="*/ 70 w 191"/>
                  <a:gd name="T9" fmla="*/ 57 h 80"/>
                  <a:gd name="T10" fmla="*/ 20 w 191"/>
                  <a:gd name="T11" fmla="*/ 11 h 80"/>
                  <a:gd name="T12" fmla="*/ 0 w 191"/>
                  <a:gd name="T13" fmla="*/ 0 h 80"/>
                  <a:gd name="T14" fmla="*/ 67 w 191"/>
                  <a:gd name="T15" fmla="*/ 64 h 80"/>
                  <a:gd name="T16" fmla="*/ 183 w 191"/>
                  <a:gd name="T17" fmla="*/ 80 h 80"/>
                  <a:gd name="T18" fmla="*/ 175 w 191"/>
                  <a:gd name="T19" fmla="*/ 60 h 80"/>
                  <a:gd name="T20" fmla="*/ 191 w 191"/>
                  <a:gd name="T21" fmla="*/ 34 h 80"/>
                  <a:gd name="T22" fmla="*/ 0 w 191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1" h="80">
                    <a:moveTo>
                      <a:pt x="20" y="11"/>
                    </a:moveTo>
                    <a:cubicBezTo>
                      <a:pt x="176" y="38"/>
                      <a:pt x="176" y="38"/>
                      <a:pt x="176" y="38"/>
                    </a:cubicBezTo>
                    <a:cubicBezTo>
                      <a:pt x="171" y="44"/>
                      <a:pt x="169" y="52"/>
                      <a:pt x="169" y="60"/>
                    </a:cubicBezTo>
                    <a:cubicBezTo>
                      <a:pt x="169" y="64"/>
                      <a:pt x="169" y="68"/>
                      <a:pt x="171" y="72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20" y="11"/>
                      <a:pt x="20" y="11"/>
                      <a:pt x="20" y="11"/>
                    </a:cubicBezTo>
                    <a:moveTo>
                      <a:pt x="0" y="0"/>
                    </a:moveTo>
                    <a:cubicBezTo>
                      <a:pt x="67" y="64"/>
                      <a:pt x="67" y="64"/>
                      <a:pt x="67" y="64"/>
                    </a:cubicBezTo>
                    <a:cubicBezTo>
                      <a:pt x="183" y="80"/>
                      <a:pt x="183" y="80"/>
                      <a:pt x="183" y="80"/>
                    </a:cubicBezTo>
                    <a:cubicBezTo>
                      <a:pt x="178" y="75"/>
                      <a:pt x="175" y="68"/>
                      <a:pt x="175" y="60"/>
                    </a:cubicBezTo>
                    <a:cubicBezTo>
                      <a:pt x="175" y="49"/>
                      <a:pt x="182" y="39"/>
                      <a:pt x="191" y="34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52">
                <a:extLst>
                  <a:ext uri="{FF2B5EF4-FFF2-40B4-BE49-F238E27FC236}">
                    <a16:creationId xmlns:a16="http://schemas.microsoft.com/office/drawing/2014/main" id="{27580CF7-F87F-4DFA-BE1B-6A5DDAD6D64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97718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7" y="33"/>
                      <a:pt x="20" y="29"/>
                      <a:pt x="20" y="19"/>
                    </a:cubicBezTo>
                    <a:cubicBezTo>
                      <a:pt x="20" y="10"/>
                      <a:pt x="17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53">
                <a:extLst>
                  <a:ext uri="{FF2B5EF4-FFF2-40B4-BE49-F238E27FC236}">
                    <a16:creationId xmlns:a16="http://schemas.microsoft.com/office/drawing/2014/main" id="{099204BF-98BC-4477-A566-AD9061815B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6743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8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54">
                <a:extLst>
                  <a:ext uri="{FF2B5EF4-FFF2-40B4-BE49-F238E27FC236}">
                    <a16:creationId xmlns:a16="http://schemas.microsoft.com/office/drawing/2014/main" id="{E04932D2-3AB4-4E68-B084-64EDCD499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4711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55">
                <a:extLst>
                  <a:ext uri="{FF2B5EF4-FFF2-40B4-BE49-F238E27FC236}">
                    <a16:creationId xmlns:a16="http://schemas.microsoft.com/office/drawing/2014/main" id="{478F955F-6431-4420-9521-93C6EDE313D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80569" y="3158162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8" y="33"/>
                      <a:pt x="20" y="29"/>
                      <a:pt x="20" y="19"/>
                    </a:cubicBezTo>
                    <a:cubicBezTo>
                      <a:pt x="20" y="10"/>
                      <a:pt x="18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56">
                <a:extLst>
                  <a:ext uri="{FF2B5EF4-FFF2-40B4-BE49-F238E27FC236}">
                    <a16:creationId xmlns:a16="http://schemas.microsoft.com/office/drawing/2014/main" id="{155431B6-0D40-411C-A890-E7C5029244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9593" y="3158689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19 h 64"/>
                  <a:gd name="T4" fmla="*/ 0 w 38"/>
                  <a:gd name="T5" fmla="*/ 11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5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5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57">
                <a:extLst>
                  <a:ext uri="{FF2B5EF4-FFF2-40B4-BE49-F238E27FC236}">
                    <a16:creationId xmlns:a16="http://schemas.microsoft.com/office/drawing/2014/main" id="{E9A61A02-DF8B-48C0-9157-47DCFFA4BD4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7035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6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9"/>
                      <a:pt x="8" y="33"/>
                      <a:pt x="13" y="33"/>
                    </a:cubicBezTo>
                    <a:cubicBezTo>
                      <a:pt x="17" y="33"/>
                      <a:pt x="19" y="29"/>
                      <a:pt x="19" y="19"/>
                    </a:cubicBezTo>
                    <a:cubicBezTo>
                      <a:pt x="19" y="10"/>
                      <a:pt x="17" y="6"/>
                      <a:pt x="13" y="6"/>
                    </a:cubicBezTo>
                    <a:cubicBezTo>
                      <a:pt x="8" y="6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58">
                <a:extLst>
                  <a:ext uri="{FF2B5EF4-FFF2-40B4-BE49-F238E27FC236}">
                    <a16:creationId xmlns:a16="http://schemas.microsoft.com/office/drawing/2014/main" id="{93C81610-3834-49A1-822E-57C79FE2EF4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9643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9">
                <a:extLst>
                  <a:ext uri="{FF2B5EF4-FFF2-40B4-BE49-F238E27FC236}">
                    <a16:creationId xmlns:a16="http://schemas.microsoft.com/office/drawing/2014/main" id="{7AC403D6-50A5-486E-9973-CF74EDC85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5866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0 w 38"/>
                  <a:gd name="T17" fmla="*/ 64 h 64"/>
                  <a:gd name="T18" fmla="*/ 10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60">
                <a:extLst>
                  <a:ext uri="{FF2B5EF4-FFF2-40B4-BE49-F238E27FC236}">
                    <a16:creationId xmlns:a16="http://schemas.microsoft.com/office/drawing/2014/main" id="{09665069-1982-435F-9D5D-27C062C55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6636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61">
                <a:extLst>
                  <a:ext uri="{FF2B5EF4-FFF2-40B4-BE49-F238E27FC236}">
                    <a16:creationId xmlns:a16="http://schemas.microsoft.com/office/drawing/2014/main" id="{DDBB9DA8-1EBE-4E89-8D42-8FFC5B0485A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3022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62">
                <a:extLst>
                  <a:ext uri="{FF2B5EF4-FFF2-40B4-BE49-F238E27FC236}">
                    <a16:creationId xmlns:a16="http://schemas.microsoft.com/office/drawing/2014/main" id="{398DD4E8-A101-482D-BB2C-F3F56D8384B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099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63">
                <a:extLst>
                  <a:ext uri="{FF2B5EF4-FFF2-40B4-BE49-F238E27FC236}">
                    <a16:creationId xmlns:a16="http://schemas.microsoft.com/office/drawing/2014/main" id="{8D1D5B5A-BE9C-4E8C-B17E-B8E3FB92DF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78455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4">
                <a:extLst>
                  <a:ext uri="{FF2B5EF4-FFF2-40B4-BE49-F238E27FC236}">
                    <a16:creationId xmlns:a16="http://schemas.microsoft.com/office/drawing/2014/main" id="{2CC98301-1373-42F8-9C9B-27A252886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6951" y="3219376"/>
                <a:ext cx="18998" cy="32718"/>
              </a:xfrm>
              <a:custGeom>
                <a:avLst/>
                <a:gdLst>
                  <a:gd name="T0" fmla="*/ 18 w 36"/>
                  <a:gd name="T1" fmla="*/ 11 h 62"/>
                  <a:gd name="T2" fmla="*/ 6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8 w 36"/>
                  <a:gd name="T9" fmla="*/ 0 h 62"/>
                  <a:gd name="T10" fmla="*/ 28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9 w 36"/>
                  <a:gd name="T17" fmla="*/ 62 h 62"/>
                  <a:gd name="T18" fmla="*/ 9 w 36"/>
                  <a:gd name="T19" fmla="*/ 55 h 62"/>
                  <a:gd name="T20" fmla="*/ 18 w 36"/>
                  <a:gd name="T21" fmla="*/ 55 h 62"/>
                  <a:gd name="T22" fmla="*/ 18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8" y="11"/>
                    </a:moveTo>
                    <a:lnTo>
                      <a:pt x="6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9" y="62"/>
                    </a:lnTo>
                    <a:lnTo>
                      <a:pt x="9" y="55"/>
                    </a:lnTo>
                    <a:lnTo>
                      <a:pt x="18" y="55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65">
                <a:extLst>
                  <a:ext uri="{FF2B5EF4-FFF2-40B4-BE49-F238E27FC236}">
                    <a16:creationId xmlns:a16="http://schemas.microsoft.com/office/drawing/2014/main" id="{4BAAB51C-3A40-45F8-96FC-F06CABE482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33337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66">
                <a:extLst>
                  <a:ext uri="{FF2B5EF4-FFF2-40B4-BE49-F238E27FC236}">
                    <a16:creationId xmlns:a16="http://schemas.microsoft.com/office/drawing/2014/main" id="{A59780AF-3BDB-461B-B9CA-640995DB3B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2362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0 w 38"/>
                  <a:gd name="T17" fmla="*/ 62 h 62"/>
                  <a:gd name="T18" fmla="*/ 10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67">
                <a:extLst>
                  <a:ext uri="{FF2B5EF4-FFF2-40B4-BE49-F238E27FC236}">
                    <a16:creationId xmlns:a16="http://schemas.microsoft.com/office/drawing/2014/main" id="{E2B95D44-927D-4AA5-BA64-FB43275C4E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90330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9 w 36"/>
                  <a:gd name="T9" fmla="*/ 0 h 62"/>
                  <a:gd name="T10" fmla="*/ 29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10 w 36"/>
                  <a:gd name="T17" fmla="*/ 62 h 62"/>
                  <a:gd name="T18" fmla="*/ 10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8">
                <a:extLst>
                  <a:ext uri="{FF2B5EF4-FFF2-40B4-BE49-F238E27FC236}">
                    <a16:creationId xmlns:a16="http://schemas.microsoft.com/office/drawing/2014/main" id="{D5812A21-2DF6-432A-8D82-D5F78B9ADF2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7244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8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69">
                <a:extLst>
                  <a:ext uri="{FF2B5EF4-FFF2-40B4-BE49-F238E27FC236}">
                    <a16:creationId xmlns:a16="http://schemas.microsoft.com/office/drawing/2014/main" id="{BA021DC0-67DB-4078-AA52-EF57F49A0A6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6473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7" y="32"/>
                      <a:pt x="19" y="28"/>
                      <a:pt x="19" y="19"/>
                    </a:cubicBezTo>
                    <a:cubicBezTo>
                      <a:pt x="19" y="9"/>
                      <a:pt x="17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70">
                <a:extLst>
                  <a:ext uri="{FF2B5EF4-FFF2-40B4-BE49-F238E27FC236}">
                    <a16:creationId xmlns:a16="http://schemas.microsoft.com/office/drawing/2014/main" id="{F3ACEE85-6EDB-40A3-9A8F-D5D88D4BB3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755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71">
                <a:extLst>
                  <a:ext uri="{FF2B5EF4-FFF2-40B4-BE49-F238E27FC236}">
                    <a16:creationId xmlns:a16="http://schemas.microsoft.com/office/drawing/2014/main" id="{E27A1814-ADE3-4ADF-8E88-78D2DE6891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20141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2">
                <a:extLst>
                  <a:ext uri="{FF2B5EF4-FFF2-40B4-BE49-F238E27FC236}">
                    <a16:creationId xmlns:a16="http://schemas.microsoft.com/office/drawing/2014/main" id="{0E0B52B7-C013-41B6-AFE3-C1744FAAA3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63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6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30 w 38"/>
                  <a:gd name="T9" fmla="*/ 0 h 64"/>
                  <a:gd name="T10" fmla="*/ 30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6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30" y="0"/>
                    </a:lnTo>
                    <a:lnTo>
                      <a:pt x="30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73">
                <a:extLst>
                  <a:ext uri="{FF2B5EF4-FFF2-40B4-BE49-F238E27FC236}">
                    <a16:creationId xmlns:a16="http://schemas.microsoft.com/office/drawing/2014/main" id="{965D7220-1323-44B9-A81D-39E358733B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0748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74">
                <a:extLst>
                  <a:ext uri="{FF2B5EF4-FFF2-40B4-BE49-F238E27FC236}">
                    <a16:creationId xmlns:a16="http://schemas.microsoft.com/office/drawing/2014/main" id="{C217551D-E91E-4C45-94BD-848C042CB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3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7 w 36"/>
                  <a:gd name="T9" fmla="*/ 0 h 62"/>
                  <a:gd name="T10" fmla="*/ 27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8 w 36"/>
                  <a:gd name="T17" fmla="*/ 62 h 62"/>
                  <a:gd name="T18" fmla="*/ 8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8" y="62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75">
                <a:extLst>
                  <a:ext uri="{FF2B5EF4-FFF2-40B4-BE49-F238E27FC236}">
                    <a16:creationId xmlns:a16="http://schemas.microsoft.com/office/drawing/2014/main" id="{26350B76-F4D4-4B9D-9AB0-EA9FC250764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05630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76">
                <a:extLst>
                  <a:ext uri="{FF2B5EF4-FFF2-40B4-BE49-F238E27FC236}">
                    <a16:creationId xmlns:a16="http://schemas.microsoft.com/office/drawing/2014/main" id="{785EEBE5-3C2B-4B14-85E7-8153BEC080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34655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1 w 38"/>
                  <a:gd name="T17" fmla="*/ 62 h 62"/>
                  <a:gd name="T18" fmla="*/ 11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1" y="62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Freihandform 24">
              <a:extLst>
                <a:ext uri="{FF2B5EF4-FFF2-40B4-BE49-F238E27FC236}">
                  <a16:creationId xmlns:a16="http://schemas.microsoft.com/office/drawing/2014/main" id="{EF70099F-11B8-4275-B221-D0760F180397}"/>
                </a:ext>
              </a:extLst>
            </p:cNvPr>
            <p:cNvSpPr/>
            <p:nvPr/>
          </p:nvSpPr>
          <p:spPr bwMode="gray">
            <a:xfrm rot="20239983">
              <a:off x="7147931" y="491610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80" name="Freeform 121">
              <a:extLst>
                <a:ext uri="{FF2B5EF4-FFF2-40B4-BE49-F238E27FC236}">
                  <a16:creationId xmlns:a16="http://schemas.microsoft.com/office/drawing/2014/main" id="{B3763211-00DA-440D-BEAD-48CE4738DBE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7327002" y="5133275"/>
              <a:ext cx="523086" cy="533080"/>
            </a:xfrm>
            <a:custGeom>
              <a:avLst/>
              <a:gdLst>
                <a:gd name="T0" fmla="*/ 681 w 785"/>
                <a:gd name="T1" fmla="*/ 119 h 800"/>
                <a:gd name="T2" fmla="*/ 636 w 785"/>
                <a:gd name="T3" fmla="*/ 160 h 800"/>
                <a:gd name="T4" fmla="*/ 677 w 785"/>
                <a:gd name="T5" fmla="*/ 229 h 800"/>
                <a:gd name="T6" fmla="*/ 659 w 785"/>
                <a:gd name="T7" fmla="*/ 229 h 800"/>
                <a:gd name="T8" fmla="*/ 677 w 785"/>
                <a:gd name="T9" fmla="*/ 229 h 800"/>
                <a:gd name="T10" fmla="*/ 710 w 785"/>
                <a:gd name="T11" fmla="*/ 54 h 800"/>
                <a:gd name="T12" fmla="*/ 601 w 785"/>
                <a:gd name="T13" fmla="*/ 54 h 800"/>
                <a:gd name="T14" fmla="*/ 785 w 785"/>
                <a:gd name="T15" fmla="*/ 352 h 800"/>
                <a:gd name="T16" fmla="*/ 753 w 785"/>
                <a:gd name="T17" fmla="*/ 355 h 800"/>
                <a:gd name="T18" fmla="*/ 720 w 785"/>
                <a:gd name="T19" fmla="*/ 202 h 800"/>
                <a:gd name="T20" fmla="*/ 704 w 785"/>
                <a:gd name="T21" fmla="*/ 649 h 800"/>
                <a:gd name="T22" fmla="*/ 659 w 785"/>
                <a:gd name="T23" fmla="*/ 371 h 800"/>
                <a:gd name="T24" fmla="*/ 645 w 785"/>
                <a:gd name="T25" fmla="*/ 437 h 800"/>
                <a:gd name="T26" fmla="*/ 398 w 785"/>
                <a:gd name="T27" fmla="*/ 703 h 800"/>
                <a:gd name="T28" fmla="*/ 451 w 785"/>
                <a:gd name="T29" fmla="*/ 768 h 800"/>
                <a:gd name="T30" fmla="*/ 193 w 785"/>
                <a:gd name="T31" fmla="*/ 800 h 800"/>
                <a:gd name="T32" fmla="*/ 247 w 785"/>
                <a:gd name="T33" fmla="*/ 768 h 800"/>
                <a:gd name="T34" fmla="*/ 0 w 785"/>
                <a:gd name="T35" fmla="*/ 703 h 800"/>
                <a:gd name="T36" fmla="*/ 533 w 785"/>
                <a:gd name="T37" fmla="*/ 306 h 800"/>
                <a:gd name="T38" fmla="*/ 558 w 785"/>
                <a:gd name="T39" fmla="*/ 146 h 800"/>
                <a:gd name="T40" fmla="*/ 596 w 785"/>
                <a:gd name="T41" fmla="*/ 119 h 800"/>
                <a:gd name="T42" fmla="*/ 651 w 785"/>
                <a:gd name="T43" fmla="*/ 222 h 800"/>
                <a:gd name="T44" fmla="*/ 668 w 785"/>
                <a:gd name="T45" fmla="*/ 248 h 800"/>
                <a:gd name="T46" fmla="*/ 668 w 785"/>
                <a:gd name="T47" fmla="*/ 210 h 800"/>
                <a:gd name="T48" fmla="*/ 642 w 785"/>
                <a:gd name="T49" fmla="*/ 169 h 800"/>
                <a:gd name="T50" fmla="*/ 696 w 785"/>
                <a:gd name="T51" fmla="*/ 119 h 800"/>
                <a:gd name="T52" fmla="*/ 752 w 785"/>
                <a:gd name="T53" fmla="*/ 146 h 800"/>
                <a:gd name="T54" fmla="*/ 785 w 785"/>
                <a:gd name="T55" fmla="*/ 349 h 800"/>
                <a:gd name="T56" fmla="*/ 568 w 785"/>
                <a:gd name="T57" fmla="*/ 306 h 800"/>
                <a:gd name="T58" fmla="*/ 590 w 785"/>
                <a:gd name="T59" fmla="*/ 202 h 800"/>
                <a:gd name="T60" fmla="*/ 398 w 785"/>
                <a:gd name="T61" fmla="*/ 671 h 800"/>
                <a:gd name="T62" fmla="*/ 32 w 785"/>
                <a:gd name="T63" fmla="*/ 338 h 800"/>
                <a:gd name="T64" fmla="*/ 398 w 785"/>
                <a:gd name="T65" fmla="*/ 671 h 800"/>
                <a:gd name="T66" fmla="*/ 406 w 785"/>
                <a:gd name="T67" fmla="*/ 338 h 800"/>
                <a:gd name="T68" fmla="*/ 471 w 785"/>
                <a:gd name="T69" fmla="*/ 419 h 800"/>
                <a:gd name="T70" fmla="*/ 490 w 785"/>
                <a:gd name="T71" fmla="*/ 419 h 800"/>
                <a:gd name="T72" fmla="*/ 573 w 785"/>
                <a:gd name="T73" fmla="*/ 502 h 800"/>
                <a:gd name="T74" fmla="*/ 406 w 785"/>
                <a:gd name="T75" fmla="*/ 520 h 800"/>
                <a:gd name="T76" fmla="*/ 613 w 785"/>
                <a:gd name="T77" fmla="*/ 671 h 800"/>
                <a:gd name="T78" fmla="*/ 279 w 785"/>
                <a:gd name="T79" fmla="*/ 372 h 800"/>
                <a:gd name="T80" fmla="*/ 69 w 785"/>
                <a:gd name="T81" fmla="*/ 386 h 800"/>
                <a:gd name="T82" fmla="*/ 279 w 785"/>
                <a:gd name="T83" fmla="*/ 372 h 800"/>
                <a:gd name="T84" fmla="*/ 69 w 785"/>
                <a:gd name="T85" fmla="*/ 414 h 800"/>
                <a:gd name="T86" fmla="*/ 279 w 785"/>
                <a:gd name="T87" fmla="*/ 428 h 800"/>
                <a:gd name="T88" fmla="*/ 279 w 785"/>
                <a:gd name="T89" fmla="*/ 457 h 800"/>
                <a:gd name="T90" fmla="*/ 69 w 785"/>
                <a:gd name="T91" fmla="*/ 471 h 800"/>
                <a:gd name="T92" fmla="*/ 279 w 785"/>
                <a:gd name="T93" fmla="*/ 457 h 800"/>
                <a:gd name="T94" fmla="*/ 69 w 785"/>
                <a:gd name="T95" fmla="*/ 499 h 800"/>
                <a:gd name="T96" fmla="*/ 279 w 785"/>
                <a:gd name="T97" fmla="*/ 513 h 800"/>
                <a:gd name="T98" fmla="*/ 279 w 785"/>
                <a:gd name="T99" fmla="*/ 597 h 800"/>
                <a:gd name="T100" fmla="*/ 69 w 785"/>
                <a:gd name="T101" fmla="*/ 611 h 800"/>
                <a:gd name="T102" fmla="*/ 279 w 785"/>
                <a:gd name="T103" fmla="*/ 597 h 800"/>
                <a:gd name="T104" fmla="*/ 323 w 785"/>
                <a:gd name="T105" fmla="*/ 440 h 800"/>
                <a:gd name="T106" fmla="*/ 350 w 785"/>
                <a:gd name="T107" fmla="*/ 487 h 800"/>
                <a:gd name="T108" fmla="*/ 323 w 785"/>
                <a:gd name="T109" fmla="*/ 535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5" h="800">
                  <a:moveTo>
                    <a:pt x="607" y="119"/>
                  </a:moveTo>
                  <a:cubicBezTo>
                    <a:pt x="681" y="119"/>
                    <a:pt x="681" y="119"/>
                    <a:pt x="681" y="119"/>
                  </a:cubicBezTo>
                  <a:cubicBezTo>
                    <a:pt x="678" y="121"/>
                    <a:pt x="676" y="123"/>
                    <a:pt x="674" y="125"/>
                  </a:cubicBezTo>
                  <a:cubicBezTo>
                    <a:pt x="658" y="137"/>
                    <a:pt x="643" y="149"/>
                    <a:pt x="636" y="160"/>
                  </a:cubicBezTo>
                  <a:cubicBezTo>
                    <a:pt x="628" y="153"/>
                    <a:pt x="613" y="137"/>
                    <a:pt x="607" y="119"/>
                  </a:cubicBezTo>
                  <a:close/>
                  <a:moveTo>
                    <a:pt x="677" y="229"/>
                  </a:moveTo>
                  <a:cubicBezTo>
                    <a:pt x="677" y="224"/>
                    <a:pt x="673" y="220"/>
                    <a:pt x="668" y="220"/>
                  </a:cubicBezTo>
                  <a:cubicBezTo>
                    <a:pt x="663" y="220"/>
                    <a:pt x="659" y="224"/>
                    <a:pt x="659" y="229"/>
                  </a:cubicBezTo>
                  <a:cubicBezTo>
                    <a:pt x="659" y="234"/>
                    <a:pt x="663" y="239"/>
                    <a:pt x="668" y="239"/>
                  </a:cubicBezTo>
                  <a:cubicBezTo>
                    <a:pt x="673" y="239"/>
                    <a:pt x="677" y="234"/>
                    <a:pt x="677" y="229"/>
                  </a:cubicBezTo>
                  <a:close/>
                  <a:moveTo>
                    <a:pt x="655" y="108"/>
                  </a:moveTo>
                  <a:cubicBezTo>
                    <a:pt x="685" y="108"/>
                    <a:pt x="710" y="84"/>
                    <a:pt x="710" y="54"/>
                  </a:cubicBezTo>
                  <a:cubicBezTo>
                    <a:pt x="710" y="24"/>
                    <a:pt x="685" y="0"/>
                    <a:pt x="655" y="0"/>
                  </a:cubicBezTo>
                  <a:cubicBezTo>
                    <a:pt x="626" y="0"/>
                    <a:pt x="601" y="24"/>
                    <a:pt x="601" y="54"/>
                  </a:cubicBezTo>
                  <a:cubicBezTo>
                    <a:pt x="601" y="84"/>
                    <a:pt x="626" y="108"/>
                    <a:pt x="655" y="108"/>
                  </a:cubicBezTo>
                  <a:close/>
                  <a:moveTo>
                    <a:pt x="785" y="352"/>
                  </a:moveTo>
                  <a:cubicBezTo>
                    <a:pt x="785" y="361"/>
                    <a:pt x="778" y="368"/>
                    <a:pt x="769" y="368"/>
                  </a:cubicBezTo>
                  <a:cubicBezTo>
                    <a:pt x="761" y="368"/>
                    <a:pt x="755" y="363"/>
                    <a:pt x="753" y="355"/>
                  </a:cubicBezTo>
                  <a:cubicBezTo>
                    <a:pt x="753" y="355"/>
                    <a:pt x="753" y="355"/>
                    <a:pt x="753" y="355"/>
                  </a:cubicBezTo>
                  <a:cubicBezTo>
                    <a:pt x="720" y="202"/>
                    <a:pt x="720" y="202"/>
                    <a:pt x="720" y="202"/>
                  </a:cubicBezTo>
                  <a:cubicBezTo>
                    <a:pt x="720" y="633"/>
                    <a:pt x="720" y="633"/>
                    <a:pt x="720" y="633"/>
                  </a:cubicBezTo>
                  <a:cubicBezTo>
                    <a:pt x="720" y="642"/>
                    <a:pt x="713" y="649"/>
                    <a:pt x="704" y="649"/>
                  </a:cubicBezTo>
                  <a:cubicBezTo>
                    <a:pt x="696" y="649"/>
                    <a:pt x="689" y="643"/>
                    <a:pt x="688" y="635"/>
                  </a:cubicBezTo>
                  <a:cubicBezTo>
                    <a:pt x="659" y="371"/>
                    <a:pt x="659" y="371"/>
                    <a:pt x="659" y="371"/>
                  </a:cubicBezTo>
                  <a:cubicBezTo>
                    <a:pt x="658" y="367"/>
                    <a:pt x="653" y="367"/>
                    <a:pt x="652" y="371"/>
                  </a:cubicBezTo>
                  <a:cubicBezTo>
                    <a:pt x="645" y="437"/>
                    <a:pt x="645" y="437"/>
                    <a:pt x="645" y="437"/>
                  </a:cubicBezTo>
                  <a:cubicBezTo>
                    <a:pt x="645" y="703"/>
                    <a:pt x="645" y="703"/>
                    <a:pt x="645" y="703"/>
                  </a:cubicBezTo>
                  <a:cubicBezTo>
                    <a:pt x="398" y="703"/>
                    <a:pt x="398" y="703"/>
                    <a:pt x="398" y="703"/>
                  </a:cubicBezTo>
                  <a:cubicBezTo>
                    <a:pt x="398" y="768"/>
                    <a:pt x="398" y="768"/>
                    <a:pt x="398" y="768"/>
                  </a:cubicBezTo>
                  <a:cubicBezTo>
                    <a:pt x="451" y="768"/>
                    <a:pt x="451" y="768"/>
                    <a:pt x="451" y="768"/>
                  </a:cubicBezTo>
                  <a:cubicBezTo>
                    <a:pt x="451" y="800"/>
                    <a:pt x="451" y="800"/>
                    <a:pt x="451" y="800"/>
                  </a:cubicBezTo>
                  <a:cubicBezTo>
                    <a:pt x="193" y="800"/>
                    <a:pt x="193" y="800"/>
                    <a:pt x="193" y="800"/>
                  </a:cubicBezTo>
                  <a:cubicBezTo>
                    <a:pt x="193" y="768"/>
                    <a:pt x="193" y="768"/>
                    <a:pt x="193" y="768"/>
                  </a:cubicBezTo>
                  <a:cubicBezTo>
                    <a:pt x="247" y="768"/>
                    <a:pt x="247" y="768"/>
                    <a:pt x="247" y="768"/>
                  </a:cubicBezTo>
                  <a:cubicBezTo>
                    <a:pt x="247" y="703"/>
                    <a:pt x="247" y="703"/>
                    <a:pt x="247" y="703"/>
                  </a:cubicBezTo>
                  <a:cubicBezTo>
                    <a:pt x="0" y="703"/>
                    <a:pt x="0" y="703"/>
                    <a:pt x="0" y="70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533" y="306"/>
                    <a:pt x="533" y="306"/>
                    <a:pt x="533" y="30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61" y="131"/>
                    <a:pt x="574" y="119"/>
                    <a:pt x="590" y="119"/>
                  </a:cubicBezTo>
                  <a:cubicBezTo>
                    <a:pt x="596" y="119"/>
                    <a:pt x="596" y="119"/>
                    <a:pt x="596" y="119"/>
                  </a:cubicBezTo>
                  <a:cubicBezTo>
                    <a:pt x="604" y="143"/>
                    <a:pt x="624" y="162"/>
                    <a:pt x="631" y="169"/>
                  </a:cubicBezTo>
                  <a:cubicBezTo>
                    <a:pt x="623" y="194"/>
                    <a:pt x="637" y="212"/>
                    <a:pt x="651" y="222"/>
                  </a:cubicBezTo>
                  <a:cubicBezTo>
                    <a:pt x="650" y="224"/>
                    <a:pt x="649" y="227"/>
                    <a:pt x="649" y="229"/>
                  </a:cubicBezTo>
                  <a:cubicBezTo>
                    <a:pt x="649" y="240"/>
                    <a:pt x="657" y="248"/>
                    <a:pt x="668" y="248"/>
                  </a:cubicBezTo>
                  <a:cubicBezTo>
                    <a:pt x="678" y="248"/>
                    <a:pt x="687" y="240"/>
                    <a:pt x="687" y="229"/>
                  </a:cubicBezTo>
                  <a:cubicBezTo>
                    <a:pt x="687" y="219"/>
                    <a:pt x="678" y="210"/>
                    <a:pt x="668" y="210"/>
                  </a:cubicBezTo>
                  <a:cubicBezTo>
                    <a:pt x="664" y="210"/>
                    <a:pt x="660" y="212"/>
                    <a:pt x="657" y="214"/>
                  </a:cubicBezTo>
                  <a:cubicBezTo>
                    <a:pt x="647" y="208"/>
                    <a:pt x="632" y="193"/>
                    <a:pt x="642" y="169"/>
                  </a:cubicBezTo>
                  <a:cubicBezTo>
                    <a:pt x="645" y="160"/>
                    <a:pt x="664" y="145"/>
                    <a:pt x="680" y="133"/>
                  </a:cubicBezTo>
                  <a:cubicBezTo>
                    <a:pt x="687" y="127"/>
                    <a:pt x="692" y="123"/>
                    <a:pt x="696" y="119"/>
                  </a:cubicBezTo>
                  <a:cubicBezTo>
                    <a:pt x="720" y="119"/>
                    <a:pt x="720" y="119"/>
                    <a:pt x="720" y="119"/>
                  </a:cubicBezTo>
                  <a:cubicBezTo>
                    <a:pt x="736" y="119"/>
                    <a:pt x="750" y="131"/>
                    <a:pt x="752" y="146"/>
                  </a:cubicBezTo>
                  <a:cubicBezTo>
                    <a:pt x="752" y="146"/>
                    <a:pt x="752" y="146"/>
                    <a:pt x="752" y="146"/>
                  </a:cubicBezTo>
                  <a:cubicBezTo>
                    <a:pt x="785" y="349"/>
                    <a:pt x="785" y="349"/>
                    <a:pt x="785" y="349"/>
                  </a:cubicBezTo>
                  <a:cubicBezTo>
                    <a:pt x="785" y="350"/>
                    <a:pt x="785" y="351"/>
                    <a:pt x="785" y="352"/>
                  </a:cubicBezTo>
                  <a:close/>
                  <a:moveTo>
                    <a:pt x="568" y="306"/>
                  </a:moveTo>
                  <a:cubicBezTo>
                    <a:pt x="590" y="306"/>
                    <a:pt x="590" y="306"/>
                    <a:pt x="590" y="306"/>
                  </a:cubicBezTo>
                  <a:cubicBezTo>
                    <a:pt x="590" y="202"/>
                    <a:pt x="590" y="202"/>
                    <a:pt x="590" y="202"/>
                  </a:cubicBezTo>
                  <a:lnTo>
                    <a:pt x="568" y="306"/>
                  </a:lnTo>
                  <a:close/>
                  <a:moveTo>
                    <a:pt x="398" y="671"/>
                  </a:moveTo>
                  <a:cubicBezTo>
                    <a:pt x="398" y="338"/>
                    <a:pt x="398" y="338"/>
                    <a:pt x="398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32" y="671"/>
                    <a:pt x="32" y="671"/>
                    <a:pt x="32" y="671"/>
                  </a:cubicBezTo>
                  <a:lnTo>
                    <a:pt x="398" y="671"/>
                  </a:lnTo>
                  <a:close/>
                  <a:moveTo>
                    <a:pt x="613" y="338"/>
                  </a:moveTo>
                  <a:cubicBezTo>
                    <a:pt x="406" y="338"/>
                    <a:pt x="406" y="338"/>
                    <a:pt x="406" y="338"/>
                  </a:cubicBezTo>
                  <a:cubicBezTo>
                    <a:pt x="406" y="407"/>
                    <a:pt x="406" y="407"/>
                    <a:pt x="406" y="407"/>
                  </a:cubicBezTo>
                  <a:cubicBezTo>
                    <a:pt x="428" y="398"/>
                    <a:pt x="453" y="402"/>
                    <a:pt x="471" y="419"/>
                  </a:cubicBezTo>
                  <a:cubicBezTo>
                    <a:pt x="475" y="423"/>
                    <a:pt x="478" y="428"/>
                    <a:pt x="480" y="432"/>
                  </a:cubicBezTo>
                  <a:cubicBezTo>
                    <a:pt x="483" y="428"/>
                    <a:pt x="486" y="423"/>
                    <a:pt x="490" y="419"/>
                  </a:cubicBezTo>
                  <a:cubicBezTo>
                    <a:pt x="513" y="396"/>
                    <a:pt x="550" y="396"/>
                    <a:pt x="573" y="419"/>
                  </a:cubicBezTo>
                  <a:cubicBezTo>
                    <a:pt x="596" y="442"/>
                    <a:pt x="596" y="479"/>
                    <a:pt x="573" y="502"/>
                  </a:cubicBezTo>
                  <a:cubicBezTo>
                    <a:pt x="482" y="594"/>
                    <a:pt x="482" y="594"/>
                    <a:pt x="482" y="594"/>
                  </a:cubicBezTo>
                  <a:cubicBezTo>
                    <a:pt x="406" y="520"/>
                    <a:pt x="406" y="520"/>
                    <a:pt x="406" y="520"/>
                  </a:cubicBezTo>
                  <a:cubicBezTo>
                    <a:pt x="406" y="671"/>
                    <a:pt x="406" y="671"/>
                    <a:pt x="406" y="671"/>
                  </a:cubicBezTo>
                  <a:cubicBezTo>
                    <a:pt x="613" y="671"/>
                    <a:pt x="613" y="671"/>
                    <a:pt x="613" y="671"/>
                  </a:cubicBezTo>
                  <a:lnTo>
                    <a:pt x="613" y="338"/>
                  </a:lnTo>
                  <a:close/>
                  <a:moveTo>
                    <a:pt x="279" y="372"/>
                  </a:moveTo>
                  <a:cubicBezTo>
                    <a:pt x="69" y="372"/>
                    <a:pt x="69" y="372"/>
                    <a:pt x="69" y="372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279" y="386"/>
                    <a:pt x="279" y="386"/>
                    <a:pt x="279" y="386"/>
                  </a:cubicBezTo>
                  <a:lnTo>
                    <a:pt x="279" y="372"/>
                  </a:lnTo>
                  <a:close/>
                  <a:moveTo>
                    <a:pt x="279" y="414"/>
                  </a:moveTo>
                  <a:cubicBezTo>
                    <a:pt x="69" y="414"/>
                    <a:pt x="69" y="414"/>
                    <a:pt x="69" y="414"/>
                  </a:cubicBezTo>
                  <a:cubicBezTo>
                    <a:pt x="69" y="428"/>
                    <a:pt x="69" y="428"/>
                    <a:pt x="69" y="428"/>
                  </a:cubicBezTo>
                  <a:cubicBezTo>
                    <a:pt x="279" y="428"/>
                    <a:pt x="279" y="428"/>
                    <a:pt x="279" y="428"/>
                  </a:cubicBezTo>
                  <a:lnTo>
                    <a:pt x="279" y="414"/>
                  </a:lnTo>
                  <a:close/>
                  <a:moveTo>
                    <a:pt x="279" y="457"/>
                  </a:moveTo>
                  <a:cubicBezTo>
                    <a:pt x="69" y="457"/>
                    <a:pt x="69" y="457"/>
                    <a:pt x="69" y="457"/>
                  </a:cubicBezTo>
                  <a:cubicBezTo>
                    <a:pt x="69" y="471"/>
                    <a:pt x="69" y="471"/>
                    <a:pt x="69" y="471"/>
                  </a:cubicBezTo>
                  <a:cubicBezTo>
                    <a:pt x="279" y="471"/>
                    <a:pt x="279" y="471"/>
                    <a:pt x="279" y="471"/>
                  </a:cubicBezTo>
                  <a:lnTo>
                    <a:pt x="279" y="457"/>
                  </a:lnTo>
                  <a:close/>
                  <a:moveTo>
                    <a:pt x="279" y="499"/>
                  </a:moveTo>
                  <a:cubicBezTo>
                    <a:pt x="69" y="499"/>
                    <a:pt x="69" y="499"/>
                    <a:pt x="69" y="499"/>
                  </a:cubicBezTo>
                  <a:cubicBezTo>
                    <a:pt x="69" y="513"/>
                    <a:pt x="69" y="513"/>
                    <a:pt x="69" y="513"/>
                  </a:cubicBezTo>
                  <a:cubicBezTo>
                    <a:pt x="279" y="513"/>
                    <a:pt x="279" y="513"/>
                    <a:pt x="279" y="513"/>
                  </a:cubicBezTo>
                  <a:lnTo>
                    <a:pt x="279" y="499"/>
                  </a:lnTo>
                  <a:close/>
                  <a:moveTo>
                    <a:pt x="279" y="597"/>
                  </a:moveTo>
                  <a:cubicBezTo>
                    <a:pt x="69" y="597"/>
                    <a:pt x="69" y="597"/>
                    <a:pt x="69" y="597"/>
                  </a:cubicBezTo>
                  <a:cubicBezTo>
                    <a:pt x="69" y="611"/>
                    <a:pt x="69" y="611"/>
                    <a:pt x="69" y="611"/>
                  </a:cubicBezTo>
                  <a:cubicBezTo>
                    <a:pt x="279" y="611"/>
                    <a:pt x="279" y="611"/>
                    <a:pt x="279" y="611"/>
                  </a:cubicBezTo>
                  <a:lnTo>
                    <a:pt x="279" y="597"/>
                  </a:lnTo>
                  <a:close/>
                  <a:moveTo>
                    <a:pt x="370" y="487"/>
                  </a:moveTo>
                  <a:cubicBezTo>
                    <a:pt x="323" y="440"/>
                    <a:pt x="323" y="440"/>
                    <a:pt x="323" y="440"/>
                  </a:cubicBezTo>
                  <a:cubicBezTo>
                    <a:pt x="313" y="450"/>
                    <a:pt x="313" y="450"/>
                    <a:pt x="313" y="450"/>
                  </a:cubicBezTo>
                  <a:cubicBezTo>
                    <a:pt x="350" y="487"/>
                    <a:pt x="350" y="487"/>
                    <a:pt x="350" y="487"/>
                  </a:cubicBezTo>
                  <a:cubicBezTo>
                    <a:pt x="313" y="525"/>
                    <a:pt x="313" y="525"/>
                    <a:pt x="313" y="525"/>
                  </a:cubicBezTo>
                  <a:cubicBezTo>
                    <a:pt x="323" y="535"/>
                    <a:pt x="323" y="535"/>
                    <a:pt x="323" y="535"/>
                  </a:cubicBezTo>
                  <a:lnTo>
                    <a:pt x="370" y="48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>
            <a:extLst>
              <a:ext uri="{FF2B5EF4-FFF2-40B4-BE49-F238E27FC236}">
                <a16:creationId xmlns:a16="http://schemas.microsoft.com/office/drawing/2014/main" id="{4B2FAAAF-7762-4092-8344-17E4690494BD}"/>
              </a:ext>
            </a:extLst>
          </p:cNvPr>
          <p:cNvSpPr/>
          <p:nvPr/>
        </p:nvSpPr>
        <p:spPr>
          <a:xfrm>
            <a:off x="4397539" y="6295915"/>
            <a:ext cx="355738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</a:rPr>
              <a:t>… make no holistic system!</a:t>
            </a:r>
            <a:endParaRPr lang="de-DE" sz="2000" b="1" dirty="0">
              <a:solidFill>
                <a:srgbClr val="C00000"/>
              </a:solidFill>
            </a:endParaRP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458A0140-E451-47A0-99A4-D570A412129E}"/>
              </a:ext>
            </a:extLst>
          </p:cNvPr>
          <p:cNvCxnSpPr>
            <a:cxnSpLocks/>
          </p:cNvCxnSpPr>
          <p:nvPr/>
        </p:nvCxnSpPr>
        <p:spPr bwMode="auto">
          <a:xfrm>
            <a:off x="5029199" y="2417960"/>
            <a:ext cx="2224618" cy="2615565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DCEA22AE-7C88-42E0-914C-28795836C2AF}"/>
              </a:ext>
            </a:extLst>
          </p:cNvPr>
          <p:cNvCxnSpPr>
            <a:cxnSpLocks/>
            <a:endCxn id="73" idx="0"/>
          </p:cNvCxnSpPr>
          <p:nvPr/>
        </p:nvCxnSpPr>
        <p:spPr bwMode="auto">
          <a:xfrm flipV="1">
            <a:off x="4117516" y="2326862"/>
            <a:ext cx="3018169" cy="870316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7193EF01-F279-467D-94DC-CDA856E505FE}"/>
              </a:ext>
            </a:extLst>
          </p:cNvPr>
          <p:cNvCxnSpPr>
            <a:cxnSpLocks/>
          </p:cNvCxnSpPr>
          <p:nvPr/>
        </p:nvCxnSpPr>
        <p:spPr bwMode="auto">
          <a:xfrm flipV="1">
            <a:off x="4089848" y="2551018"/>
            <a:ext cx="368827" cy="66065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F34116B8-36A1-4894-B974-5485D91B9709}"/>
              </a:ext>
            </a:extLst>
          </p:cNvPr>
          <p:cNvCxnSpPr>
            <a:cxnSpLocks/>
          </p:cNvCxnSpPr>
          <p:nvPr/>
        </p:nvCxnSpPr>
        <p:spPr bwMode="auto">
          <a:xfrm flipV="1">
            <a:off x="3860227" y="2588119"/>
            <a:ext cx="761826" cy="145023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1" name="Gerader Verbinder 140">
            <a:extLst>
              <a:ext uri="{FF2B5EF4-FFF2-40B4-BE49-F238E27FC236}">
                <a16:creationId xmlns:a16="http://schemas.microsoft.com/office/drawing/2014/main" id="{2A2EBEC8-9B65-4989-98C3-1EDD1E5B7CE7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4667801" y="2567149"/>
            <a:ext cx="8625" cy="2354614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4" name="Gerader Verbinder 143">
            <a:extLst>
              <a:ext uri="{FF2B5EF4-FFF2-40B4-BE49-F238E27FC236}">
                <a16:creationId xmlns:a16="http://schemas.microsoft.com/office/drawing/2014/main" id="{5B321553-DB73-4717-9172-5EC76FE92DB4}"/>
              </a:ext>
            </a:extLst>
          </p:cNvPr>
          <p:cNvCxnSpPr>
            <a:cxnSpLocks/>
            <a:endCxn id="77" idx="0"/>
          </p:cNvCxnSpPr>
          <p:nvPr/>
        </p:nvCxnSpPr>
        <p:spPr bwMode="auto">
          <a:xfrm flipV="1">
            <a:off x="4960121" y="3282166"/>
            <a:ext cx="3132420" cy="175094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7" name="Gerader Verbinder 146">
            <a:extLst>
              <a:ext uri="{FF2B5EF4-FFF2-40B4-BE49-F238E27FC236}">
                <a16:creationId xmlns:a16="http://schemas.microsoft.com/office/drawing/2014/main" id="{9692F008-0569-4EA6-B055-3CF8489BE3AA}"/>
              </a:ext>
            </a:extLst>
          </p:cNvPr>
          <p:cNvCxnSpPr>
            <a:cxnSpLocks/>
          </p:cNvCxnSpPr>
          <p:nvPr/>
        </p:nvCxnSpPr>
        <p:spPr bwMode="auto">
          <a:xfrm flipV="1">
            <a:off x="5112521" y="2519876"/>
            <a:ext cx="2206991" cy="266563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9" name="Gerader Verbinder 148">
            <a:extLst>
              <a:ext uri="{FF2B5EF4-FFF2-40B4-BE49-F238E27FC236}">
                <a16:creationId xmlns:a16="http://schemas.microsoft.com/office/drawing/2014/main" id="{D6092CE0-8BDD-4369-B2CC-7E17B6AA2AA7}"/>
              </a:ext>
            </a:extLst>
          </p:cNvPr>
          <p:cNvCxnSpPr>
            <a:cxnSpLocks/>
          </p:cNvCxnSpPr>
          <p:nvPr/>
        </p:nvCxnSpPr>
        <p:spPr bwMode="auto">
          <a:xfrm flipV="1">
            <a:off x="5160086" y="4512330"/>
            <a:ext cx="2888223" cy="82557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2" name="Gerader Verbinder 151">
            <a:extLst>
              <a:ext uri="{FF2B5EF4-FFF2-40B4-BE49-F238E27FC236}">
                <a16:creationId xmlns:a16="http://schemas.microsoft.com/office/drawing/2014/main" id="{A4A7CC89-634A-4F18-A4DE-392211F45C02}"/>
              </a:ext>
            </a:extLst>
          </p:cNvPr>
          <p:cNvCxnSpPr>
            <a:cxnSpLocks/>
          </p:cNvCxnSpPr>
          <p:nvPr/>
        </p:nvCxnSpPr>
        <p:spPr bwMode="auto">
          <a:xfrm flipV="1">
            <a:off x="668338" y="1096653"/>
            <a:ext cx="2494680" cy="1363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080683060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E087A0-1FAC-42B0-B5AF-C11EE9409E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fter All …</a:t>
            </a:r>
            <a:br>
              <a:rPr lang="de-DE" dirty="0"/>
            </a:br>
            <a:r>
              <a:rPr lang="de-DE" dirty="0"/>
              <a:t>Evolution will </a:t>
            </a:r>
            <a:r>
              <a:rPr lang="de-DE" dirty="0" err="1"/>
              <a:t>lea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i="1" dirty="0">
                <a:solidFill>
                  <a:schemeClr val="accent5">
                    <a:lumMod val="75000"/>
                  </a:schemeClr>
                </a:solidFill>
              </a:rPr>
              <a:t>Web </a:t>
            </a:r>
            <a:r>
              <a:rPr lang="de-DE" i="1" dirty="0" err="1">
                <a:solidFill>
                  <a:schemeClr val="accent5">
                    <a:lumMod val="75000"/>
                  </a:schemeClr>
                </a:solidFill>
              </a:rPr>
              <a:t>of</a:t>
            </a:r>
            <a:r>
              <a:rPr lang="de-DE" i="1" dirty="0">
                <a:solidFill>
                  <a:schemeClr val="accent5">
                    <a:lumMod val="75000"/>
                  </a:schemeClr>
                </a:solidFill>
              </a:rPr>
              <a:t> Things (Systems)</a:t>
            </a:r>
          </a:p>
        </p:txBody>
      </p:sp>
      <p:sp>
        <p:nvSpPr>
          <p:cNvPr id="5" name="Rechteck 24">
            <a:extLst>
              <a:ext uri="{FF2B5EF4-FFF2-40B4-BE49-F238E27FC236}">
                <a16:creationId xmlns:a16="http://schemas.microsoft.com/office/drawing/2014/main" id="{F5AC02AB-1AC9-4B5D-87F1-BFE6BCF8BCF7}"/>
              </a:ext>
            </a:extLst>
          </p:cNvPr>
          <p:cNvSpPr/>
          <p:nvPr/>
        </p:nvSpPr>
        <p:spPr bwMode="gray">
          <a:xfrm>
            <a:off x="7984684" y="1412876"/>
            <a:ext cx="4213666" cy="4749222"/>
          </a:xfrm>
          <a:prstGeom prst="rect">
            <a:avLst/>
          </a:prstGeom>
          <a:solidFill>
            <a:srgbClr val="006487"/>
          </a:solidFill>
          <a:ln>
            <a:noFill/>
          </a:ln>
          <a:effectLst/>
          <a:extLst/>
        </p:spPr>
        <p:txBody>
          <a:bodyPr wrap="square" lIns="612000" tIns="144000" rIns="504000" bIns="144000" numCol="1" spcCol="7200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647D2D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sp>
        <p:nvSpPr>
          <p:cNvPr id="13" name="Text Box 57">
            <a:extLst>
              <a:ext uri="{FF2B5EF4-FFF2-40B4-BE49-F238E27FC236}">
                <a16:creationId xmlns:a16="http://schemas.microsoft.com/office/drawing/2014/main" id="{04719DD2-387C-4030-BEA5-7600CAE2ADFE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916057" y="5648990"/>
            <a:ext cx="64761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>
            <a:defPPr>
              <a:defRPr lang="de-DE"/>
            </a:defPPr>
            <a:lvl1pPr algn="ctr">
              <a:spcBef>
                <a:spcPts val="0"/>
              </a:spcBef>
              <a:defRPr sz="1200" b="0">
                <a:solidFill>
                  <a:schemeClr val="tx1"/>
                </a:solidFill>
                <a:cs typeface="Arial" charset="0"/>
              </a:defRPr>
            </a:lvl1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cs typeface="Arial" charset="0"/>
              </a:rPr>
              <a:t>~2020</a:t>
            </a:r>
          </a:p>
        </p:txBody>
      </p:sp>
      <p:sp>
        <p:nvSpPr>
          <p:cNvPr id="15" name="Text Box 42">
            <a:extLst>
              <a:ext uri="{FF2B5EF4-FFF2-40B4-BE49-F238E27FC236}">
                <a16:creationId xmlns:a16="http://schemas.microsoft.com/office/drawing/2014/main" id="{E86E28C0-AE8C-4A69-9BD0-1A500C842C6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9207782" y="4997273"/>
            <a:ext cx="825547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mart grid</a:t>
            </a:r>
          </a:p>
        </p:txBody>
      </p:sp>
      <p:sp>
        <p:nvSpPr>
          <p:cNvPr id="16" name="Text Box 42">
            <a:extLst>
              <a:ext uri="{FF2B5EF4-FFF2-40B4-BE49-F238E27FC236}">
                <a16:creationId xmlns:a16="http://schemas.microsoft.com/office/drawing/2014/main" id="{087D9899-D06C-408A-8595-256D77DAEE06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298453" y="4997273"/>
            <a:ext cx="288541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noProof="0" dirty="0">
                <a:solidFill>
                  <a:srgbClr val="FFFFFF"/>
                </a:solidFill>
              </a:rPr>
              <a:t>i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4.0</a:t>
            </a:r>
          </a:p>
        </p:txBody>
      </p:sp>
      <p:sp>
        <p:nvSpPr>
          <p:cNvPr id="19" name="Text Box 42">
            <a:extLst>
              <a:ext uri="{FF2B5EF4-FFF2-40B4-BE49-F238E27FC236}">
                <a16:creationId xmlns:a16="http://schemas.microsoft.com/office/drawing/2014/main" id="{FFFA4826-D9CF-4ACD-93E2-DBFA5B0A26B2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10837301" y="4997273"/>
            <a:ext cx="796692" cy="21544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rPr>
              <a:t>Smart city</a:t>
            </a:r>
          </a:p>
        </p:txBody>
      </p:sp>
      <p:sp>
        <p:nvSpPr>
          <p:cNvPr id="25" name="Rechteck 78">
            <a:extLst>
              <a:ext uri="{FF2B5EF4-FFF2-40B4-BE49-F238E27FC236}">
                <a16:creationId xmlns:a16="http://schemas.microsoft.com/office/drawing/2014/main" id="{1A063EEF-4A3C-4E7B-B0A8-526FFFA63BA8}"/>
              </a:ext>
            </a:extLst>
          </p:cNvPr>
          <p:cNvSpPr>
            <a:spLocks/>
          </p:cNvSpPr>
          <p:nvPr/>
        </p:nvSpPr>
        <p:spPr bwMode="gray">
          <a:xfrm>
            <a:off x="9488866" y="2135119"/>
            <a:ext cx="2226884" cy="307777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1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</a:rPr>
              <a:t>Web of Systems</a:t>
            </a:r>
          </a:p>
        </p:txBody>
      </p:sp>
      <p:sp>
        <p:nvSpPr>
          <p:cNvPr id="27" name="Line 50">
            <a:extLst>
              <a:ext uri="{FF2B5EF4-FFF2-40B4-BE49-F238E27FC236}">
                <a16:creationId xmlns:a16="http://schemas.microsoft.com/office/drawing/2014/main" id="{7D607598-8F53-412F-B7CE-5F44AB0CA8C8}"/>
              </a:ext>
            </a:extLst>
          </p:cNvPr>
          <p:cNvSpPr>
            <a:spLocks noChangeShapeType="1"/>
          </p:cNvSpPr>
          <p:nvPr/>
        </p:nvSpPr>
        <p:spPr bwMode="gray">
          <a:xfrm>
            <a:off x="3175" y="5434516"/>
            <a:ext cx="11712575" cy="0"/>
          </a:xfrm>
          <a:prstGeom prst="line">
            <a:avLst/>
          </a:prstGeom>
          <a:noFill/>
          <a:ln w="38100">
            <a:solidFill>
              <a:srgbClr val="FFFFFF"/>
            </a:solidFill>
            <a:round/>
            <a:headEnd/>
            <a:tailEnd type="triangle" w="lg" len="lg"/>
          </a:ln>
          <a:effectLst/>
        </p:spPr>
        <p:txBody>
          <a:bodyPr wrap="none"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cxnSp>
        <p:nvCxnSpPr>
          <p:cNvPr id="31" name="Straight Connector 171">
            <a:extLst>
              <a:ext uri="{FF2B5EF4-FFF2-40B4-BE49-F238E27FC236}">
                <a16:creationId xmlns:a16="http://schemas.microsoft.com/office/drawing/2014/main" id="{BFFBA3C9-816C-4869-A270-6A98CC6CAC5E}"/>
              </a:ext>
            </a:extLst>
          </p:cNvPr>
          <p:cNvCxnSpPr/>
          <p:nvPr/>
        </p:nvCxnSpPr>
        <p:spPr bwMode="gray">
          <a:xfrm>
            <a:off x="10239864" y="5308516"/>
            <a:ext cx="0" cy="252000"/>
          </a:xfrm>
          <a:prstGeom prst="line">
            <a:avLst/>
          </a:prstGeom>
          <a:solidFill>
            <a:srgbClr val="000000"/>
          </a:solidFill>
          <a:ln w="19050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33" name="Group 173">
            <a:extLst>
              <a:ext uri="{FF2B5EF4-FFF2-40B4-BE49-F238E27FC236}">
                <a16:creationId xmlns:a16="http://schemas.microsoft.com/office/drawing/2014/main" id="{C4AEFB0E-F5E7-47EB-8C4F-307380C359DE}"/>
              </a:ext>
            </a:extLst>
          </p:cNvPr>
          <p:cNvGrpSpPr/>
          <p:nvPr/>
        </p:nvGrpSpPr>
        <p:grpSpPr bwMode="gray">
          <a:xfrm>
            <a:off x="9697047" y="2891482"/>
            <a:ext cx="1631433" cy="1691637"/>
            <a:chOff x="4911422" y="2441210"/>
            <a:chExt cx="1614523" cy="1674103"/>
          </a:xfrm>
        </p:grpSpPr>
        <p:sp>
          <p:nvSpPr>
            <p:cNvPr id="34" name="Freeform 31">
              <a:extLst>
                <a:ext uri="{FF2B5EF4-FFF2-40B4-BE49-F238E27FC236}">
                  <a16:creationId xmlns:a16="http://schemas.microsoft.com/office/drawing/2014/main" id="{5D2BE361-5697-4273-B4AF-A975F85C26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365869" y="2441210"/>
              <a:ext cx="705630" cy="44014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35"/>
                </a:cxn>
                <a:cxn ang="0">
                  <a:pos x="48" y="0"/>
                </a:cxn>
                <a:cxn ang="0">
                  <a:pos x="79" y="17"/>
                </a:cxn>
                <a:cxn ang="0">
                  <a:pos x="86" y="16"/>
                </a:cxn>
                <a:cxn ang="0">
                  <a:pos x="110" y="33"/>
                </a:cxn>
                <a:cxn ang="0">
                  <a:pos x="128" y="56"/>
                </a:cxn>
                <a:cxn ang="0">
                  <a:pos x="104" y="80"/>
                </a:cxn>
                <a:cxn ang="0">
                  <a:pos x="24" y="80"/>
                </a:cxn>
                <a:cxn ang="0">
                  <a:pos x="0" y="56"/>
                </a:cxn>
              </a:cxnLst>
              <a:rect l="0" t="0" r="r" b="b"/>
              <a:pathLst>
                <a:path w="128" h="80">
                  <a:moveTo>
                    <a:pt x="0" y="56"/>
                  </a:moveTo>
                  <a:cubicBezTo>
                    <a:pt x="0" y="47"/>
                    <a:pt x="5" y="39"/>
                    <a:pt x="12" y="35"/>
                  </a:cubicBezTo>
                  <a:cubicBezTo>
                    <a:pt x="12" y="16"/>
                    <a:pt x="28" y="0"/>
                    <a:pt x="48" y="0"/>
                  </a:cubicBezTo>
                  <a:cubicBezTo>
                    <a:pt x="61" y="0"/>
                    <a:pt x="72" y="7"/>
                    <a:pt x="79" y="17"/>
                  </a:cubicBezTo>
                  <a:cubicBezTo>
                    <a:pt x="81" y="16"/>
                    <a:pt x="83" y="16"/>
                    <a:pt x="86" y="16"/>
                  </a:cubicBezTo>
                  <a:cubicBezTo>
                    <a:pt x="97" y="16"/>
                    <a:pt x="107" y="23"/>
                    <a:pt x="110" y="33"/>
                  </a:cubicBezTo>
                  <a:cubicBezTo>
                    <a:pt x="121" y="36"/>
                    <a:pt x="128" y="45"/>
                    <a:pt x="128" y="56"/>
                  </a:cubicBezTo>
                  <a:cubicBezTo>
                    <a:pt x="128" y="69"/>
                    <a:pt x="117" y="80"/>
                    <a:pt x="10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lose/>
                </a:path>
              </a:pathLst>
            </a:custGeom>
            <a:noFill/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ct val="500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879BAA"/>
                </a:solidFill>
                <a:effectLst/>
                <a:uLnTx/>
                <a:uFillTx/>
                <a:latin typeface="Arial" pitchFamily="34" charset="0"/>
              </a:endParaRPr>
            </a:p>
          </p:txBody>
        </p:sp>
        <p:grpSp>
          <p:nvGrpSpPr>
            <p:cNvPr id="35" name="Group 64">
              <a:extLst>
                <a:ext uri="{FF2B5EF4-FFF2-40B4-BE49-F238E27FC236}">
                  <a16:creationId xmlns:a16="http://schemas.microsoft.com/office/drawing/2014/main" id="{101C66B6-FCA1-4E42-997E-8609BFF2EA19}"/>
                </a:ext>
              </a:extLst>
            </p:cNvPr>
            <p:cNvGrpSpPr/>
            <p:nvPr/>
          </p:nvGrpSpPr>
          <p:grpSpPr bwMode="gray">
            <a:xfrm>
              <a:off x="4911422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6" name="Freeform 86">
                <a:extLst>
                  <a:ext uri="{FF2B5EF4-FFF2-40B4-BE49-F238E27FC236}">
                    <a16:creationId xmlns:a16="http://schemas.microsoft.com/office/drawing/2014/main" id="{93005DF4-5C04-497A-BE7A-2FDB35BE13C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7" name="Freeform 87">
                <a:extLst>
                  <a:ext uri="{FF2B5EF4-FFF2-40B4-BE49-F238E27FC236}">
                    <a16:creationId xmlns:a16="http://schemas.microsoft.com/office/drawing/2014/main" id="{F4FE2233-62B9-4AF2-8124-22536128B15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8" name="Freeform 88">
                <a:extLst>
                  <a:ext uri="{FF2B5EF4-FFF2-40B4-BE49-F238E27FC236}">
                    <a16:creationId xmlns:a16="http://schemas.microsoft.com/office/drawing/2014/main" id="{61FC36C9-89E1-4F91-88B1-7E4BDE8BFB7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6" name="Group 65">
              <a:extLst>
                <a:ext uri="{FF2B5EF4-FFF2-40B4-BE49-F238E27FC236}">
                  <a16:creationId xmlns:a16="http://schemas.microsoft.com/office/drawing/2014/main" id="{4C14076F-D2DD-41F3-A9D5-DBE3C7393F55}"/>
                </a:ext>
              </a:extLst>
            </p:cNvPr>
            <p:cNvGrpSpPr/>
            <p:nvPr/>
          </p:nvGrpSpPr>
          <p:grpSpPr bwMode="gray">
            <a:xfrm>
              <a:off x="5354588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3" name="Freeform 86">
                <a:extLst>
                  <a:ext uri="{FF2B5EF4-FFF2-40B4-BE49-F238E27FC236}">
                    <a16:creationId xmlns:a16="http://schemas.microsoft.com/office/drawing/2014/main" id="{332C28CB-D12C-4C10-9FF3-B489BEA08D3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4" name="Freeform 87">
                <a:extLst>
                  <a:ext uri="{FF2B5EF4-FFF2-40B4-BE49-F238E27FC236}">
                    <a16:creationId xmlns:a16="http://schemas.microsoft.com/office/drawing/2014/main" id="{426739DB-8EBB-4A37-87B2-80656A8206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5" name="Freeform 88">
                <a:extLst>
                  <a:ext uri="{FF2B5EF4-FFF2-40B4-BE49-F238E27FC236}">
                    <a16:creationId xmlns:a16="http://schemas.microsoft.com/office/drawing/2014/main" id="{69BECA86-307D-4D92-AD33-55F7B8C1DC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37" name="Gerade Verbindung mit Pfeil 33">
              <a:extLst>
                <a:ext uri="{FF2B5EF4-FFF2-40B4-BE49-F238E27FC236}">
                  <a16:creationId xmlns:a16="http://schemas.microsoft.com/office/drawing/2014/main" id="{626D948E-FE54-44BD-A645-FAEA0778CFEE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310872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38" name="Group 67">
              <a:extLst>
                <a:ext uri="{FF2B5EF4-FFF2-40B4-BE49-F238E27FC236}">
                  <a16:creationId xmlns:a16="http://schemas.microsoft.com/office/drawing/2014/main" id="{08F9ADB3-3AE5-470A-85C1-D9EFF036A32A}"/>
                </a:ext>
              </a:extLst>
            </p:cNvPr>
            <p:cNvGrpSpPr/>
            <p:nvPr/>
          </p:nvGrpSpPr>
          <p:grpSpPr bwMode="gray">
            <a:xfrm flipH="1">
              <a:off x="6130907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60" name="Freeform 86">
                <a:extLst>
                  <a:ext uri="{FF2B5EF4-FFF2-40B4-BE49-F238E27FC236}">
                    <a16:creationId xmlns:a16="http://schemas.microsoft.com/office/drawing/2014/main" id="{E44D2D50-D48D-49C6-8D5B-80104973506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1" name="Freeform 87">
                <a:extLst>
                  <a:ext uri="{FF2B5EF4-FFF2-40B4-BE49-F238E27FC236}">
                    <a16:creationId xmlns:a16="http://schemas.microsoft.com/office/drawing/2014/main" id="{5CC77A94-4441-43B7-B36F-1F1E823FAAC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62" name="Freeform 88">
                <a:extLst>
                  <a:ext uri="{FF2B5EF4-FFF2-40B4-BE49-F238E27FC236}">
                    <a16:creationId xmlns:a16="http://schemas.microsoft.com/office/drawing/2014/main" id="{09EFF1D6-F7E0-43E8-A8FB-92779D252AF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39" name="Group 68">
              <a:extLst>
                <a:ext uri="{FF2B5EF4-FFF2-40B4-BE49-F238E27FC236}">
                  <a16:creationId xmlns:a16="http://schemas.microsoft.com/office/drawing/2014/main" id="{096A4114-F535-499E-B9B9-EE36A9B21262}"/>
                </a:ext>
              </a:extLst>
            </p:cNvPr>
            <p:cNvGrpSpPr/>
            <p:nvPr/>
          </p:nvGrpSpPr>
          <p:grpSpPr bwMode="gray">
            <a:xfrm flipH="1">
              <a:off x="5860044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7" name="Freeform 197">
                <a:extLst>
                  <a:ext uri="{FF2B5EF4-FFF2-40B4-BE49-F238E27FC236}">
                    <a16:creationId xmlns:a16="http://schemas.microsoft.com/office/drawing/2014/main" id="{0EE0F2C8-FD04-425A-9019-A030FD57DED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8" name="Freeform 198">
                <a:extLst>
                  <a:ext uri="{FF2B5EF4-FFF2-40B4-BE49-F238E27FC236}">
                    <a16:creationId xmlns:a16="http://schemas.microsoft.com/office/drawing/2014/main" id="{A0F19576-7DE9-494E-BDA6-50E13807218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9" name="Freeform 199">
                <a:extLst>
                  <a:ext uri="{FF2B5EF4-FFF2-40B4-BE49-F238E27FC236}">
                    <a16:creationId xmlns:a16="http://schemas.microsoft.com/office/drawing/2014/main" id="{5BA35399-7866-454A-BD95-A13097F384F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0" name="Gerade Verbindung mit Pfeil 33">
              <a:extLst>
                <a:ext uri="{FF2B5EF4-FFF2-40B4-BE49-F238E27FC236}">
                  <a16:creationId xmlns:a16="http://schemas.microsoft.com/office/drawing/2014/main" id="{081D9158-1FB2-4217-96C3-24149E05DBB6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6126496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1" name="Gerade Verbindung mit Pfeil 33">
              <a:extLst>
                <a:ext uri="{FF2B5EF4-FFF2-40B4-BE49-F238E27FC236}">
                  <a16:creationId xmlns:a16="http://schemas.microsoft.com/office/drawing/2014/main" id="{E93C4283-CB30-4E0F-A915-CEECCAE79714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826701" y="3712285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2" name="Gerade Verbindung mit Pfeil 33">
              <a:extLst>
                <a:ext uri="{FF2B5EF4-FFF2-40B4-BE49-F238E27FC236}">
                  <a16:creationId xmlns:a16="http://schemas.microsoft.com/office/drawing/2014/main" id="{EF8FA36F-9AFD-4A58-9F93-4EE5C07651C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5612825" y="3712286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43" name="Group 72">
              <a:extLst>
                <a:ext uri="{FF2B5EF4-FFF2-40B4-BE49-F238E27FC236}">
                  <a16:creationId xmlns:a16="http://schemas.microsoft.com/office/drawing/2014/main" id="{4AA24DEF-F35F-4AA2-9AEF-10F02CE008CE}"/>
                </a:ext>
              </a:extLst>
            </p:cNvPr>
            <p:cNvGrpSpPr/>
            <p:nvPr/>
          </p:nvGrpSpPr>
          <p:grpSpPr bwMode="gray">
            <a:xfrm>
              <a:off x="5607264" y="3453974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4" name="Freeform 86">
                <a:extLst>
                  <a:ext uri="{FF2B5EF4-FFF2-40B4-BE49-F238E27FC236}">
                    <a16:creationId xmlns:a16="http://schemas.microsoft.com/office/drawing/2014/main" id="{5426C2EC-BA69-4D6F-8061-BF46F181CEF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5" name="Freeform 87">
                <a:extLst>
                  <a:ext uri="{FF2B5EF4-FFF2-40B4-BE49-F238E27FC236}">
                    <a16:creationId xmlns:a16="http://schemas.microsoft.com/office/drawing/2014/main" id="{54CD89D3-8D2A-4884-97B2-26A775C3A59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6" name="Freeform 88">
                <a:extLst>
                  <a:ext uri="{FF2B5EF4-FFF2-40B4-BE49-F238E27FC236}">
                    <a16:creationId xmlns:a16="http://schemas.microsoft.com/office/drawing/2014/main" id="{27B9CF25-F36D-401F-849A-B6071723747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4" name="Gerade Verbindung mit Pfeil 33">
              <a:extLst>
                <a:ext uri="{FF2B5EF4-FFF2-40B4-BE49-F238E27FC236}">
                  <a16:creationId xmlns:a16="http://schemas.microsoft.com/office/drawing/2014/main" id="{50F4A35B-05F9-4CBF-A9D3-ABD4166611DE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354588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45" name="Group 74">
              <a:extLst>
                <a:ext uri="{FF2B5EF4-FFF2-40B4-BE49-F238E27FC236}">
                  <a16:creationId xmlns:a16="http://schemas.microsoft.com/office/drawing/2014/main" id="{A5ECA58C-59E6-4F38-B027-45651F2A8C96}"/>
                </a:ext>
              </a:extLst>
            </p:cNvPr>
            <p:cNvGrpSpPr/>
            <p:nvPr/>
          </p:nvGrpSpPr>
          <p:grpSpPr bwMode="gray">
            <a:xfrm>
              <a:off x="5607265" y="3106460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51" name="Freeform 86">
                <a:extLst>
                  <a:ext uri="{FF2B5EF4-FFF2-40B4-BE49-F238E27FC236}">
                    <a16:creationId xmlns:a16="http://schemas.microsoft.com/office/drawing/2014/main" id="{8FFEA6A6-6DF1-4AE9-9A29-472510FB456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2" name="Freeform 87">
                <a:extLst>
                  <a:ext uri="{FF2B5EF4-FFF2-40B4-BE49-F238E27FC236}">
                    <a16:creationId xmlns:a16="http://schemas.microsoft.com/office/drawing/2014/main" id="{78BE2577-1AE3-4060-9BE4-1FE5215FBDA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53" name="Freeform 88">
                <a:extLst>
                  <a:ext uri="{FF2B5EF4-FFF2-40B4-BE49-F238E27FC236}">
                    <a16:creationId xmlns:a16="http://schemas.microsoft.com/office/drawing/2014/main" id="{0F1B7341-43F5-478D-9033-9956A6527B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cxnSp>
          <p:nvCxnSpPr>
            <p:cNvPr id="46" name="Gerade Verbindung mit Pfeil 33">
              <a:extLst>
                <a:ext uri="{FF2B5EF4-FFF2-40B4-BE49-F238E27FC236}">
                  <a16:creationId xmlns:a16="http://schemas.microsoft.com/office/drawing/2014/main" id="{5BECD55B-3926-4A2C-A186-8D85CA718187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860044" y="3643627"/>
              <a:ext cx="236234" cy="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7" name="Gerade Verbindung mit Pfeil 33">
              <a:extLst>
                <a:ext uri="{FF2B5EF4-FFF2-40B4-BE49-F238E27FC236}">
                  <a16:creationId xmlns:a16="http://schemas.microsoft.com/office/drawing/2014/main" id="{CC6BB2F1-0B34-4952-BDC5-C146CF0BA1C6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867664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8" name="Gerade Verbindung mit Pfeil 33">
              <a:extLst>
                <a:ext uri="{FF2B5EF4-FFF2-40B4-BE49-F238E27FC236}">
                  <a16:creationId xmlns:a16="http://schemas.microsoft.com/office/drawing/2014/main" id="{53259685-0113-4765-9D3A-E29DA5F02914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718633" y="2915485"/>
              <a:ext cx="0" cy="181750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49" name="Gerade Verbindung mit Pfeil 33">
              <a:extLst>
                <a:ext uri="{FF2B5EF4-FFF2-40B4-BE49-F238E27FC236}">
                  <a16:creationId xmlns:a16="http://schemas.microsoft.com/office/drawing/2014/main" id="{EA75A0A1-A44F-470B-88CA-32ACB42B47FA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200799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50" name="Gerade Verbindung mit Pfeil 33">
              <a:extLst>
                <a:ext uri="{FF2B5EF4-FFF2-40B4-BE49-F238E27FC236}">
                  <a16:creationId xmlns:a16="http://schemas.microsoft.com/office/drawing/2014/main" id="{10899982-347D-40B3-9273-70DFC33620CA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992254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FFFFFF"/>
              </a:solidFill>
              <a:round/>
              <a:headEnd type="triangle" w="med" len="sm"/>
              <a:tailEnd type="triangle" w="med" len="sm"/>
            </a:ln>
          </p:spPr>
        </p:cxnSp>
      </p:grpSp>
      <p:grpSp>
        <p:nvGrpSpPr>
          <p:cNvPr id="112" name="Gruppieren 111">
            <a:extLst>
              <a:ext uri="{FF2B5EF4-FFF2-40B4-BE49-F238E27FC236}">
                <a16:creationId xmlns:a16="http://schemas.microsoft.com/office/drawing/2014/main" id="{0A5E1470-0327-4982-9B86-DE0E1CD9D5C1}"/>
              </a:ext>
            </a:extLst>
          </p:cNvPr>
          <p:cNvGrpSpPr/>
          <p:nvPr/>
        </p:nvGrpSpPr>
        <p:grpSpPr>
          <a:xfrm>
            <a:off x="0" y="1408302"/>
            <a:ext cx="9326353" cy="4753796"/>
            <a:chOff x="0" y="1408302"/>
            <a:chExt cx="9326353" cy="4753796"/>
          </a:xfrm>
        </p:grpSpPr>
        <p:sp>
          <p:nvSpPr>
            <p:cNvPr id="6" name="Rechteck 2">
              <a:extLst>
                <a:ext uri="{FF2B5EF4-FFF2-40B4-BE49-F238E27FC236}">
                  <a16:creationId xmlns:a16="http://schemas.microsoft.com/office/drawing/2014/main" id="{DBABC949-5531-41D6-B24E-D9EA3E9D6792}"/>
                </a:ext>
              </a:extLst>
            </p:cNvPr>
            <p:cNvSpPr/>
            <p:nvPr/>
          </p:nvSpPr>
          <p:spPr bwMode="gray">
            <a:xfrm>
              <a:off x="0" y="1408302"/>
              <a:ext cx="9282150" cy="4753796"/>
            </a:xfrm>
            <a:prstGeom prst="homePlate">
              <a:avLst>
                <a:gd name="adj" fmla="val 15862"/>
              </a:avLst>
            </a:prstGeom>
            <a:solidFill>
              <a:srgbClr val="D7D7CD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endParaRPr>
            </a:p>
          </p:txBody>
        </p:sp>
        <p:sp>
          <p:nvSpPr>
            <p:cNvPr id="7" name="Text Box 39">
              <a:extLst>
                <a:ext uri="{FF2B5EF4-FFF2-40B4-BE49-F238E27FC236}">
                  <a16:creationId xmlns:a16="http://schemas.microsoft.com/office/drawing/2014/main" id="{FB78894E-2B93-41C4-BB88-52EF37ED5D6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24380" y="4997273"/>
              <a:ext cx="836255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ARPANET</a:t>
              </a:r>
            </a:p>
          </p:txBody>
        </p:sp>
        <p:sp>
          <p:nvSpPr>
            <p:cNvPr id="8" name="Text Box 41">
              <a:extLst>
                <a:ext uri="{FF2B5EF4-FFF2-40B4-BE49-F238E27FC236}">
                  <a16:creationId xmlns:a16="http://schemas.microsoft.com/office/drawing/2014/main" id="{A4006251-6167-4698-95C2-691F6F5B9FF5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2272492" y="4997273"/>
              <a:ext cx="578684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TCP/IP</a:t>
              </a:r>
            </a:p>
          </p:txBody>
        </p:sp>
        <p:sp>
          <p:nvSpPr>
            <p:cNvPr id="9" name="Text Box 42">
              <a:extLst>
                <a:ext uri="{FF2B5EF4-FFF2-40B4-BE49-F238E27FC236}">
                  <a16:creationId xmlns:a16="http://schemas.microsoft.com/office/drawing/2014/main" id="{663DE858-E6AB-4AC9-B211-935D947CA4B3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360030" y="4997273"/>
              <a:ext cx="1025922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Social media</a:t>
              </a:r>
            </a:p>
          </p:txBody>
        </p:sp>
        <p:sp>
          <p:nvSpPr>
            <p:cNvPr id="10" name="Text Box 51">
              <a:extLst>
                <a:ext uri="{FF2B5EF4-FFF2-40B4-BE49-F238E27FC236}">
                  <a16:creationId xmlns:a16="http://schemas.microsoft.com/office/drawing/2014/main" id="{79A8C4AB-BFD9-430B-9349-33599CEF338F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679784" y="5648990"/>
              <a:ext cx="647613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1970</a:t>
              </a:r>
            </a:p>
          </p:txBody>
        </p:sp>
        <p:sp>
          <p:nvSpPr>
            <p:cNvPr id="11" name="Text Box 53">
              <a:extLst>
                <a:ext uri="{FF2B5EF4-FFF2-40B4-BE49-F238E27FC236}">
                  <a16:creationId xmlns:a16="http://schemas.microsoft.com/office/drawing/2014/main" id="{BE9712DF-5CA6-4207-838B-E952094A145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4730192" y="5648990"/>
              <a:ext cx="647614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ctr">
                <a:spcBef>
                  <a:spcPts val="0"/>
                </a:spcBef>
                <a:defRPr sz="1200" b="0">
                  <a:solidFill>
                    <a:schemeClr val="tx1"/>
                  </a:solidFill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1990</a:t>
              </a:r>
            </a:p>
          </p:txBody>
        </p:sp>
        <p:sp>
          <p:nvSpPr>
            <p:cNvPr id="12" name="Text Box 55">
              <a:extLst>
                <a:ext uri="{FF2B5EF4-FFF2-40B4-BE49-F238E27FC236}">
                  <a16:creationId xmlns:a16="http://schemas.microsoft.com/office/drawing/2014/main" id="{5D349330-2389-45D8-9C16-B66E4A1E6BB0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7337071" y="5648990"/>
              <a:ext cx="647613" cy="27699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>
              <a:spAutoFit/>
            </a:bodyPr>
            <a:lstStyle>
              <a:defPPr>
                <a:defRPr lang="de-DE"/>
              </a:defPPr>
              <a:lvl1pPr algn="ctr">
                <a:spcBef>
                  <a:spcPts val="0"/>
                </a:spcBef>
                <a:defRPr sz="1200" b="0">
                  <a:solidFill>
                    <a:schemeClr val="tx1"/>
                  </a:solidFill>
                  <a:cs typeface="Arial" charset="0"/>
                </a:defRPr>
              </a:lvl1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  <a:cs typeface="Arial" charset="0"/>
                </a:rPr>
                <a:t>~2010</a:t>
              </a:r>
            </a:p>
          </p:txBody>
        </p:sp>
        <p:sp>
          <p:nvSpPr>
            <p:cNvPr id="14" name="Text Box 41">
              <a:extLst>
                <a:ext uri="{FF2B5EF4-FFF2-40B4-BE49-F238E27FC236}">
                  <a16:creationId xmlns:a16="http://schemas.microsoft.com/office/drawing/2014/main" id="{D1C4A194-52CE-44D5-A2EC-26EE34F7209B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204650" y="4997273"/>
              <a:ext cx="379655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VoIP</a:t>
              </a:r>
            </a:p>
          </p:txBody>
        </p:sp>
        <p:sp>
          <p:nvSpPr>
            <p:cNvPr id="17" name="Text Box 41">
              <a:extLst>
                <a:ext uri="{FF2B5EF4-FFF2-40B4-BE49-F238E27FC236}">
                  <a16:creationId xmlns:a16="http://schemas.microsoft.com/office/drawing/2014/main" id="{DFD05AE5-FAD1-4153-AF68-217B093F37F7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3288050" y="4997273"/>
              <a:ext cx="298159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http</a:t>
              </a:r>
            </a:p>
          </p:txBody>
        </p:sp>
        <p:sp>
          <p:nvSpPr>
            <p:cNvPr id="18" name="Text Box 41">
              <a:extLst>
                <a:ext uri="{FF2B5EF4-FFF2-40B4-BE49-F238E27FC236}">
                  <a16:creationId xmlns:a16="http://schemas.microsoft.com/office/drawing/2014/main" id="{6C267A88-C051-419D-8BE8-049FB5490A62}"/>
                </a:ext>
              </a:extLst>
            </p:cNvPr>
            <p:cNvSpPr txBox="1">
              <a:spLocks noChangeArrowheads="1"/>
            </p:cNvSpPr>
            <p:nvPr/>
          </p:nvSpPr>
          <p:spPr bwMode="gray">
            <a:xfrm>
              <a:off x="5994473" y="4997273"/>
              <a:ext cx="955390" cy="215444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pitchFamily="2" charset="2"/>
                <a:buNone/>
                <a:tabLst/>
                <a:defRPr/>
              </a:pPr>
              <a:r>
                <a:rPr kumimoji="0" lang="en-US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505A64"/>
                  </a:solidFill>
                  <a:effectLst/>
                  <a:uLnTx/>
                  <a:uFillTx/>
                </a:rPr>
                <a:t>Mobile web </a:t>
              </a:r>
            </a:p>
          </p:txBody>
        </p:sp>
        <p:sp>
          <p:nvSpPr>
            <p:cNvPr id="20" name="Eingekerbter Richtungspfeil 14">
              <a:extLst>
                <a:ext uri="{FF2B5EF4-FFF2-40B4-BE49-F238E27FC236}">
                  <a16:creationId xmlns:a16="http://schemas.microsoft.com/office/drawing/2014/main" id="{065834EF-C8CA-46F9-8C77-995E11698BC9}"/>
                </a:ext>
              </a:extLst>
            </p:cNvPr>
            <p:cNvSpPr/>
            <p:nvPr/>
          </p:nvSpPr>
          <p:spPr bwMode="gray">
            <a:xfrm>
              <a:off x="5913306" y="2135119"/>
              <a:ext cx="508724" cy="2448000"/>
            </a:xfrm>
            <a:prstGeom prst="chevron">
              <a:avLst>
                <a:gd name="adj" fmla="val 72358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1" name="Eingekerbter Richtungspfeil 14">
              <a:extLst>
                <a:ext uri="{FF2B5EF4-FFF2-40B4-BE49-F238E27FC236}">
                  <a16:creationId xmlns:a16="http://schemas.microsoft.com/office/drawing/2014/main" id="{33C69923-537B-4A1F-8DE5-42AE3C68E907}"/>
                </a:ext>
              </a:extLst>
            </p:cNvPr>
            <p:cNvSpPr/>
            <p:nvPr/>
          </p:nvSpPr>
          <p:spPr bwMode="gray">
            <a:xfrm>
              <a:off x="3008983" y="2135119"/>
              <a:ext cx="508724" cy="2448000"/>
            </a:xfrm>
            <a:prstGeom prst="chevron">
              <a:avLst>
                <a:gd name="adj" fmla="val 72358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sp>
          <p:nvSpPr>
            <p:cNvPr id="22" name="Rechteck 11">
              <a:extLst>
                <a:ext uri="{FF2B5EF4-FFF2-40B4-BE49-F238E27FC236}">
                  <a16:creationId xmlns:a16="http://schemas.microsoft.com/office/drawing/2014/main" id="{F38A13DC-D29B-409A-A60D-725B5870A05C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254" y="2135119"/>
              <a:ext cx="2226884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827F64"/>
                  </a:solidFill>
                  <a:effectLst/>
                  <a:uLnTx/>
                  <a:uFillTx/>
                  <a:latin typeface="Arial"/>
                </a:rPr>
                <a:t>Internet</a:t>
              </a:r>
            </a:p>
          </p:txBody>
        </p:sp>
        <p:sp>
          <p:nvSpPr>
            <p:cNvPr id="23" name="Rechteck 10">
              <a:extLst>
                <a:ext uri="{FF2B5EF4-FFF2-40B4-BE49-F238E27FC236}">
                  <a16:creationId xmlns:a16="http://schemas.microsoft.com/office/drawing/2014/main" id="{CE4C4634-E1BC-4FDE-AF81-66BA238C7D0F}"/>
                </a:ext>
              </a:extLst>
            </p:cNvPr>
            <p:cNvSpPr>
              <a:spLocks/>
            </p:cNvSpPr>
            <p:nvPr/>
          </p:nvSpPr>
          <p:spPr bwMode="gray">
            <a:xfrm>
              <a:off x="3586209" y="2135119"/>
              <a:ext cx="2328249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55A0B9"/>
                  </a:solidFill>
                  <a:effectLst/>
                  <a:uLnTx/>
                  <a:uFillTx/>
                </a:rPr>
                <a:t>World Wide Web</a:t>
              </a:r>
            </a:p>
          </p:txBody>
        </p:sp>
        <p:sp>
          <p:nvSpPr>
            <p:cNvPr id="24" name="Rechteck 9">
              <a:extLst>
                <a:ext uri="{FF2B5EF4-FFF2-40B4-BE49-F238E27FC236}">
                  <a16:creationId xmlns:a16="http://schemas.microsoft.com/office/drawing/2014/main" id="{233F4194-2685-4236-A9AC-869FE9EC97BB}"/>
                </a:ext>
              </a:extLst>
            </p:cNvPr>
            <p:cNvSpPr>
              <a:spLocks/>
            </p:cNvSpPr>
            <p:nvPr/>
          </p:nvSpPr>
          <p:spPr bwMode="gray">
            <a:xfrm>
              <a:off x="6483178" y="2135119"/>
              <a:ext cx="2328249" cy="307777"/>
            </a:xfrm>
            <a:prstGeom prst="rect">
              <a:avLst/>
            </a:prstGeom>
          </p:spPr>
          <p:txBody>
            <a:bodyPr wrap="square" lIns="0" tIns="0" rIns="0" bIns="0" anchor="t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rgbClr val="879628"/>
                  </a:solidFill>
                  <a:effectLst/>
                  <a:uLnTx/>
                  <a:uFillTx/>
                </a:rPr>
                <a:t>Web 2.0</a:t>
              </a:r>
            </a:p>
          </p:txBody>
        </p:sp>
        <p:sp>
          <p:nvSpPr>
            <p:cNvPr id="26" name="Eingekerbter Richtungspfeil 14">
              <a:extLst>
                <a:ext uri="{FF2B5EF4-FFF2-40B4-BE49-F238E27FC236}">
                  <a16:creationId xmlns:a16="http://schemas.microsoft.com/office/drawing/2014/main" id="{00A9A0FB-0E8B-4EF3-BE18-BC3460445D8D}"/>
                </a:ext>
              </a:extLst>
            </p:cNvPr>
            <p:cNvSpPr/>
            <p:nvPr/>
          </p:nvSpPr>
          <p:spPr bwMode="gray">
            <a:xfrm>
              <a:off x="8475439" y="1412053"/>
              <a:ext cx="850914" cy="4750045"/>
            </a:xfrm>
            <a:prstGeom prst="chevron">
              <a:avLst>
                <a:gd name="adj" fmla="val 84825"/>
              </a:avLst>
            </a:prstGeom>
            <a:solidFill>
              <a:srgbClr val="FFFFFF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 typeface="Wingdings" charset="0"/>
                <a:buNone/>
                <a:tabLst/>
                <a:defRPr/>
              </a:pPr>
              <a:endPara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</a:endParaRPr>
            </a:p>
          </p:txBody>
        </p:sp>
        <p:cxnSp>
          <p:nvCxnSpPr>
            <p:cNvPr id="28" name="Straight Connector 168">
              <a:extLst>
                <a:ext uri="{FF2B5EF4-FFF2-40B4-BE49-F238E27FC236}">
                  <a16:creationId xmlns:a16="http://schemas.microsoft.com/office/drawing/2014/main" id="{0365E555-E0E4-4633-BA5F-E900FE94C94A}"/>
                </a:ext>
              </a:extLst>
            </p:cNvPr>
            <p:cNvCxnSpPr/>
            <p:nvPr/>
          </p:nvCxnSpPr>
          <p:spPr bwMode="gray">
            <a:xfrm>
              <a:off x="7651666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9" name="Straight Connector 169">
              <a:extLst>
                <a:ext uri="{FF2B5EF4-FFF2-40B4-BE49-F238E27FC236}">
                  <a16:creationId xmlns:a16="http://schemas.microsoft.com/office/drawing/2014/main" id="{E73BF59B-BE1A-4EB6-BEA2-87D5555CFCCE}"/>
                </a:ext>
              </a:extLst>
            </p:cNvPr>
            <p:cNvCxnSpPr/>
            <p:nvPr/>
          </p:nvCxnSpPr>
          <p:spPr bwMode="gray">
            <a:xfrm>
              <a:off x="5053999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0" name="Straight Connector 170">
              <a:extLst>
                <a:ext uri="{FF2B5EF4-FFF2-40B4-BE49-F238E27FC236}">
                  <a16:creationId xmlns:a16="http://schemas.microsoft.com/office/drawing/2014/main" id="{D24CC3D3-DC88-4FC0-99A8-C7325D864C61}"/>
                </a:ext>
              </a:extLst>
            </p:cNvPr>
            <p:cNvCxnSpPr/>
            <p:nvPr/>
          </p:nvCxnSpPr>
          <p:spPr bwMode="gray">
            <a:xfrm>
              <a:off x="1003591" y="5308516"/>
              <a:ext cx="0" cy="252000"/>
            </a:xfrm>
            <a:prstGeom prst="line">
              <a:avLst/>
            </a:prstGeom>
            <a:solidFill>
              <a:srgbClr val="000000"/>
            </a:solidFill>
            <a:ln w="19050" cap="flat" cmpd="sng" algn="ctr">
              <a:solidFill>
                <a:srgbClr val="505A64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Line 50">
              <a:extLst>
                <a:ext uri="{FF2B5EF4-FFF2-40B4-BE49-F238E27FC236}">
                  <a16:creationId xmlns:a16="http://schemas.microsoft.com/office/drawing/2014/main" id="{671203DE-FCC9-433A-814A-D5D66ED01D6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0" y="5434516"/>
              <a:ext cx="8811427" cy="0"/>
            </a:xfrm>
            <a:prstGeom prst="line">
              <a:avLst/>
            </a:prstGeom>
            <a:noFill/>
            <a:ln w="38100">
              <a:solidFill>
                <a:srgbClr val="505A64"/>
              </a:solidFill>
              <a:round/>
              <a:headEnd/>
              <a:tailEnd type="none" w="lg" len="lg"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grpSp>
          <p:nvGrpSpPr>
            <p:cNvPr id="69" name="Group 209">
              <a:extLst>
                <a:ext uri="{FF2B5EF4-FFF2-40B4-BE49-F238E27FC236}">
                  <a16:creationId xmlns:a16="http://schemas.microsoft.com/office/drawing/2014/main" id="{B50B3393-794B-4226-BA01-89F73633E6F7}"/>
                </a:ext>
              </a:extLst>
            </p:cNvPr>
            <p:cNvGrpSpPr/>
            <p:nvPr/>
          </p:nvGrpSpPr>
          <p:grpSpPr bwMode="gray">
            <a:xfrm>
              <a:off x="627063" y="2961188"/>
              <a:ext cx="1748236" cy="1449523"/>
              <a:chOff x="627063" y="3039268"/>
              <a:chExt cx="1733551" cy="1437347"/>
            </a:xfrm>
          </p:grpSpPr>
          <p:cxnSp>
            <p:nvCxnSpPr>
              <p:cNvPr id="70" name="Straight Connector 210">
                <a:extLst>
                  <a:ext uri="{FF2B5EF4-FFF2-40B4-BE49-F238E27FC236}">
                    <a16:creationId xmlns:a16="http://schemas.microsoft.com/office/drawing/2014/main" id="{5B7C123E-65AA-4307-A6CB-D6BF94CD8151}"/>
                  </a:ext>
                </a:extLst>
              </p:cNvPr>
              <p:cNvCxnSpPr>
                <a:cxnSpLocks/>
                <a:stCxn id="79" idx="3"/>
                <a:endCxn id="80" idx="2"/>
              </p:cNvCxnSpPr>
              <p:nvPr/>
            </p:nvCxnSpPr>
            <p:spPr bwMode="gray">
              <a:xfrm>
                <a:off x="841376" y="3899660"/>
                <a:ext cx="197643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1" name="Straight Connector 211">
                <a:extLst>
                  <a:ext uri="{FF2B5EF4-FFF2-40B4-BE49-F238E27FC236}">
                    <a16:creationId xmlns:a16="http://schemas.microsoft.com/office/drawing/2014/main" id="{2F17EA9A-5740-4F0B-9F74-BB124906511F}"/>
                  </a:ext>
                </a:extLst>
              </p:cNvPr>
              <p:cNvCxnSpPr>
                <a:cxnSpLocks/>
                <a:stCxn id="80" idx="7"/>
                <a:endCxn id="81" idx="3"/>
              </p:cNvCxnSpPr>
              <p:nvPr/>
            </p:nvCxnSpPr>
            <p:spPr bwMode="gray">
              <a:xfrm flipV="1">
                <a:off x="1221947" y="3525806"/>
                <a:ext cx="274701" cy="298082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2" name="Straight Connector 212">
                <a:extLst>
                  <a:ext uri="{FF2B5EF4-FFF2-40B4-BE49-F238E27FC236}">
                    <a16:creationId xmlns:a16="http://schemas.microsoft.com/office/drawing/2014/main" id="{5DC0CB76-E8C3-47E3-8E14-7364AAD2815E}"/>
                  </a:ext>
                </a:extLst>
              </p:cNvPr>
              <p:cNvCxnSpPr>
                <a:cxnSpLocks/>
                <a:stCxn id="83" idx="1"/>
                <a:endCxn id="80" idx="5"/>
              </p:cNvCxnSpPr>
              <p:nvPr/>
            </p:nvCxnSpPr>
            <p:spPr bwMode="gray">
              <a:xfrm flipH="1" flipV="1">
                <a:off x="1221947" y="3975431"/>
                <a:ext cx="274701" cy="318256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3" name="Straight Connector 213">
                <a:extLst>
                  <a:ext uri="{FF2B5EF4-FFF2-40B4-BE49-F238E27FC236}">
                    <a16:creationId xmlns:a16="http://schemas.microsoft.com/office/drawing/2014/main" id="{603D7214-8CAB-4F31-92AC-C696ED43A99E}"/>
                  </a:ext>
                </a:extLst>
              </p:cNvPr>
              <p:cNvCxnSpPr>
                <a:cxnSpLocks/>
                <a:stCxn id="84" idx="1"/>
                <a:endCxn id="83" idx="6"/>
              </p:cNvCxnSpPr>
              <p:nvPr/>
            </p:nvCxnSpPr>
            <p:spPr bwMode="gray">
              <a:xfrm flipH="1">
                <a:off x="1679576" y="4369459"/>
                <a:ext cx="155151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4" name="Straight Connector 214">
                <a:extLst>
                  <a:ext uri="{FF2B5EF4-FFF2-40B4-BE49-F238E27FC236}">
                    <a16:creationId xmlns:a16="http://schemas.microsoft.com/office/drawing/2014/main" id="{0080ECEB-F1AB-481A-93E7-4E01378F6635}"/>
                  </a:ext>
                </a:extLst>
              </p:cNvPr>
              <p:cNvCxnSpPr>
                <a:cxnSpLocks/>
                <a:stCxn id="82" idx="2"/>
                <a:endCxn id="81" idx="6"/>
              </p:cNvCxnSpPr>
              <p:nvPr/>
            </p:nvCxnSpPr>
            <p:spPr bwMode="gray">
              <a:xfrm flipH="1">
                <a:off x="1679576" y="3450035"/>
                <a:ext cx="466725" cy="0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5" name="Straight Connector 215">
                <a:extLst>
                  <a:ext uri="{FF2B5EF4-FFF2-40B4-BE49-F238E27FC236}">
                    <a16:creationId xmlns:a16="http://schemas.microsoft.com/office/drawing/2014/main" id="{4D493DC1-EBBF-4177-BBF0-8C3EE65533FA}"/>
                  </a:ext>
                </a:extLst>
              </p:cNvPr>
              <p:cNvCxnSpPr>
                <a:cxnSpLocks/>
                <a:stCxn id="81" idx="0"/>
                <a:endCxn id="77" idx="2"/>
              </p:cNvCxnSpPr>
              <p:nvPr/>
            </p:nvCxnSpPr>
            <p:spPr bwMode="gray">
              <a:xfrm flipV="1">
                <a:off x="1572420" y="3253581"/>
                <a:ext cx="0" cy="89297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Straight Connector 216">
                <a:extLst>
                  <a:ext uri="{FF2B5EF4-FFF2-40B4-BE49-F238E27FC236}">
                    <a16:creationId xmlns:a16="http://schemas.microsoft.com/office/drawing/2014/main" id="{6E3B4425-7721-4EC5-ADC7-12BD3CEE5DD5}"/>
                  </a:ext>
                </a:extLst>
              </p:cNvPr>
              <p:cNvCxnSpPr>
                <a:cxnSpLocks/>
                <a:stCxn id="78" idx="0"/>
                <a:endCxn id="82" idx="4"/>
              </p:cNvCxnSpPr>
              <p:nvPr/>
            </p:nvCxnSpPr>
            <p:spPr bwMode="gray">
              <a:xfrm flipV="1">
                <a:off x="2253458" y="3557191"/>
                <a:ext cx="0" cy="89296"/>
              </a:xfrm>
              <a:prstGeom prst="line">
                <a:avLst/>
              </a:prstGeom>
              <a:solidFill>
                <a:srgbClr val="000000"/>
              </a:solidFill>
              <a:ln w="12700" cap="flat" cmpd="sng" algn="ctr">
                <a:solidFill>
                  <a:srgbClr val="AAAA96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7" name="Rectangle 217">
                <a:extLst>
                  <a:ext uri="{FF2B5EF4-FFF2-40B4-BE49-F238E27FC236}">
                    <a16:creationId xmlns:a16="http://schemas.microsoft.com/office/drawing/2014/main" id="{09D41E03-0C3C-4F9B-B8E7-4F0A0AF2CBDA}"/>
                  </a:ext>
                </a:extLst>
              </p:cNvPr>
              <p:cNvSpPr/>
              <p:nvPr/>
            </p:nvSpPr>
            <p:spPr bwMode="gray">
              <a:xfrm>
                <a:off x="1465263" y="3039268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8" name="Rectangle 218">
                <a:extLst>
                  <a:ext uri="{FF2B5EF4-FFF2-40B4-BE49-F238E27FC236}">
                    <a16:creationId xmlns:a16="http://schemas.microsoft.com/office/drawing/2014/main" id="{546E7C37-30A6-4149-8F8C-1E3723C29694}"/>
                  </a:ext>
                </a:extLst>
              </p:cNvPr>
              <p:cNvSpPr/>
              <p:nvPr/>
            </p:nvSpPr>
            <p:spPr bwMode="gray">
              <a:xfrm>
                <a:off x="2146301" y="3646487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79" name="Rectangle 219">
                <a:extLst>
                  <a:ext uri="{FF2B5EF4-FFF2-40B4-BE49-F238E27FC236}">
                    <a16:creationId xmlns:a16="http://schemas.microsoft.com/office/drawing/2014/main" id="{D60B2829-9755-4FEE-8462-251D37279174}"/>
                  </a:ext>
                </a:extLst>
              </p:cNvPr>
              <p:cNvSpPr/>
              <p:nvPr/>
            </p:nvSpPr>
            <p:spPr bwMode="gray">
              <a:xfrm>
                <a:off x="627063" y="3792503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0" name="Oval 220">
                <a:extLst>
                  <a:ext uri="{FF2B5EF4-FFF2-40B4-BE49-F238E27FC236}">
                    <a16:creationId xmlns:a16="http://schemas.microsoft.com/office/drawing/2014/main" id="{B6D4C20A-7A56-4668-8D5D-72E7704D8033}"/>
                  </a:ext>
                </a:extLst>
              </p:cNvPr>
              <p:cNvSpPr/>
              <p:nvPr/>
            </p:nvSpPr>
            <p:spPr bwMode="gray">
              <a:xfrm>
                <a:off x="1039019" y="3792503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1" name="Oval 221">
                <a:extLst>
                  <a:ext uri="{FF2B5EF4-FFF2-40B4-BE49-F238E27FC236}">
                    <a16:creationId xmlns:a16="http://schemas.microsoft.com/office/drawing/2014/main" id="{0CF4E380-7173-41BE-AEDA-12D855C5529B}"/>
                  </a:ext>
                </a:extLst>
              </p:cNvPr>
              <p:cNvSpPr/>
              <p:nvPr/>
            </p:nvSpPr>
            <p:spPr bwMode="gray">
              <a:xfrm>
                <a:off x="1465263" y="3342878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2" name="Oval 222">
                <a:extLst>
                  <a:ext uri="{FF2B5EF4-FFF2-40B4-BE49-F238E27FC236}">
                    <a16:creationId xmlns:a16="http://schemas.microsoft.com/office/drawing/2014/main" id="{2F1B7C36-37E3-40D3-8A95-14FFBFEB08F9}"/>
                  </a:ext>
                </a:extLst>
              </p:cNvPr>
              <p:cNvSpPr/>
              <p:nvPr/>
            </p:nvSpPr>
            <p:spPr bwMode="gray">
              <a:xfrm>
                <a:off x="2146301" y="3342878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3" name="Oval 223">
                <a:extLst>
                  <a:ext uri="{FF2B5EF4-FFF2-40B4-BE49-F238E27FC236}">
                    <a16:creationId xmlns:a16="http://schemas.microsoft.com/office/drawing/2014/main" id="{63DC381F-02F3-44C7-89B4-C43AB5B2D78C}"/>
                  </a:ext>
                </a:extLst>
              </p:cNvPr>
              <p:cNvSpPr/>
              <p:nvPr/>
            </p:nvSpPr>
            <p:spPr bwMode="gray">
              <a:xfrm>
                <a:off x="1465263" y="4262302"/>
                <a:ext cx="214313" cy="214313"/>
              </a:xfrm>
              <a:prstGeom prst="ellipse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84" name="Rectangle 224">
                <a:extLst>
                  <a:ext uri="{FF2B5EF4-FFF2-40B4-BE49-F238E27FC236}">
                    <a16:creationId xmlns:a16="http://schemas.microsoft.com/office/drawing/2014/main" id="{32FD5F12-3499-4E7E-8B8A-716DC3BC478D}"/>
                  </a:ext>
                </a:extLst>
              </p:cNvPr>
              <p:cNvSpPr/>
              <p:nvPr/>
            </p:nvSpPr>
            <p:spPr bwMode="gray">
              <a:xfrm>
                <a:off x="1834727" y="4262302"/>
                <a:ext cx="214313" cy="214313"/>
              </a:xfrm>
              <a:prstGeom prst="rect">
                <a:avLst/>
              </a:prstGeom>
              <a:solidFill>
                <a:srgbClr val="827F64"/>
              </a:solidFill>
              <a:ln w="12700">
                <a:solidFill>
                  <a:srgbClr val="827F64"/>
                </a:solidFill>
                <a:miter lim="800000"/>
                <a:headEnd/>
                <a:tailEnd/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1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 typeface="Wingdings" charset="0"/>
                  <a:buNone/>
                  <a:tabLst/>
                  <a:defRPr/>
                </a:pPr>
                <a:endParaRPr kumimoji="0" lang="en-US" sz="1800" b="1" i="0" u="none" strike="noStrike" kern="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</a:endParaRPr>
              </a:p>
            </p:txBody>
          </p:sp>
        </p:grpSp>
        <p:grpSp>
          <p:nvGrpSpPr>
            <p:cNvPr id="85" name="Group 225">
              <a:extLst>
                <a:ext uri="{FF2B5EF4-FFF2-40B4-BE49-F238E27FC236}">
                  <a16:creationId xmlns:a16="http://schemas.microsoft.com/office/drawing/2014/main" id="{18438B1F-1BF8-49DC-BF2F-719C9C1C0897}"/>
                </a:ext>
              </a:extLst>
            </p:cNvPr>
            <p:cNvGrpSpPr/>
            <p:nvPr/>
          </p:nvGrpSpPr>
          <p:grpSpPr bwMode="gray">
            <a:xfrm>
              <a:off x="6751568" y="2960897"/>
              <a:ext cx="1415442" cy="1484219"/>
              <a:chOff x="6722004" y="2673297"/>
              <a:chExt cx="1371028" cy="1437647"/>
            </a:xfrm>
            <a:solidFill>
              <a:srgbClr val="879628"/>
            </a:solidFill>
          </p:grpSpPr>
          <p:sp>
            <p:nvSpPr>
              <p:cNvPr id="86" name="Freeform 6">
                <a:extLst>
                  <a:ext uri="{FF2B5EF4-FFF2-40B4-BE49-F238E27FC236}">
                    <a16:creationId xmlns:a16="http://schemas.microsoft.com/office/drawing/2014/main" id="{93CFDA8E-5E02-4D80-A511-75D84D53BD9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722004" y="2903734"/>
                <a:ext cx="201934" cy="296840"/>
              </a:xfrm>
              <a:custGeom>
                <a:avLst/>
                <a:gdLst>
                  <a:gd name="T0" fmla="*/ 325 w 391"/>
                  <a:gd name="T1" fmla="*/ 443 h 575"/>
                  <a:gd name="T2" fmla="*/ 196 w 391"/>
                  <a:gd name="T3" fmla="*/ 443 h 575"/>
                  <a:gd name="T4" fmla="*/ 150 w 391"/>
                  <a:gd name="T5" fmla="*/ 424 h 575"/>
                  <a:gd name="T6" fmla="*/ 131 w 391"/>
                  <a:gd name="T7" fmla="*/ 378 h 575"/>
                  <a:gd name="T8" fmla="*/ 131 w 391"/>
                  <a:gd name="T9" fmla="*/ 332 h 575"/>
                  <a:gd name="T10" fmla="*/ 316 w 391"/>
                  <a:gd name="T11" fmla="*/ 332 h 575"/>
                  <a:gd name="T12" fmla="*/ 359 w 391"/>
                  <a:gd name="T13" fmla="*/ 314 h 575"/>
                  <a:gd name="T14" fmla="*/ 377 w 391"/>
                  <a:gd name="T15" fmla="*/ 271 h 575"/>
                  <a:gd name="T16" fmla="*/ 359 w 391"/>
                  <a:gd name="T17" fmla="*/ 228 h 575"/>
                  <a:gd name="T18" fmla="*/ 315 w 391"/>
                  <a:gd name="T19" fmla="*/ 210 h 575"/>
                  <a:gd name="T20" fmla="*/ 131 w 391"/>
                  <a:gd name="T21" fmla="*/ 210 h 575"/>
                  <a:gd name="T22" fmla="*/ 131 w 391"/>
                  <a:gd name="T23" fmla="*/ 66 h 575"/>
                  <a:gd name="T24" fmla="*/ 112 w 391"/>
                  <a:gd name="T25" fmla="*/ 20 h 575"/>
                  <a:gd name="T26" fmla="*/ 65 w 391"/>
                  <a:gd name="T27" fmla="*/ 0 h 575"/>
                  <a:gd name="T28" fmla="*/ 19 w 391"/>
                  <a:gd name="T29" fmla="*/ 19 h 575"/>
                  <a:gd name="T30" fmla="*/ 0 w 391"/>
                  <a:gd name="T31" fmla="*/ 66 h 575"/>
                  <a:gd name="T32" fmla="*/ 0 w 391"/>
                  <a:gd name="T33" fmla="*/ 378 h 575"/>
                  <a:gd name="T34" fmla="*/ 57 w 391"/>
                  <a:gd name="T35" fmla="*/ 517 h 575"/>
                  <a:gd name="T36" fmla="*/ 196 w 391"/>
                  <a:gd name="T37" fmla="*/ 575 h 575"/>
                  <a:gd name="T38" fmla="*/ 325 w 391"/>
                  <a:gd name="T39" fmla="*/ 575 h 575"/>
                  <a:gd name="T40" fmla="*/ 372 w 391"/>
                  <a:gd name="T41" fmla="*/ 555 h 575"/>
                  <a:gd name="T42" fmla="*/ 391 w 391"/>
                  <a:gd name="T43" fmla="*/ 509 h 575"/>
                  <a:gd name="T44" fmla="*/ 372 w 391"/>
                  <a:gd name="T45" fmla="*/ 462 h 575"/>
                  <a:gd name="T46" fmla="*/ 325 w 391"/>
                  <a:gd name="T47" fmla="*/ 443 h 5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91" h="575">
                    <a:moveTo>
                      <a:pt x="325" y="443"/>
                    </a:moveTo>
                    <a:cubicBezTo>
                      <a:pt x="196" y="443"/>
                      <a:pt x="196" y="443"/>
                      <a:pt x="196" y="443"/>
                    </a:cubicBezTo>
                    <a:cubicBezTo>
                      <a:pt x="178" y="443"/>
                      <a:pt x="162" y="437"/>
                      <a:pt x="150" y="424"/>
                    </a:cubicBezTo>
                    <a:cubicBezTo>
                      <a:pt x="137" y="411"/>
                      <a:pt x="131" y="396"/>
                      <a:pt x="131" y="378"/>
                    </a:cubicBezTo>
                    <a:cubicBezTo>
                      <a:pt x="131" y="332"/>
                      <a:pt x="131" y="332"/>
                      <a:pt x="131" y="332"/>
                    </a:cubicBezTo>
                    <a:cubicBezTo>
                      <a:pt x="316" y="332"/>
                      <a:pt x="316" y="332"/>
                      <a:pt x="316" y="332"/>
                    </a:cubicBezTo>
                    <a:cubicBezTo>
                      <a:pt x="332" y="332"/>
                      <a:pt x="347" y="326"/>
                      <a:pt x="359" y="314"/>
                    </a:cubicBezTo>
                    <a:cubicBezTo>
                      <a:pt x="371" y="302"/>
                      <a:pt x="377" y="287"/>
                      <a:pt x="377" y="271"/>
                    </a:cubicBezTo>
                    <a:cubicBezTo>
                      <a:pt x="377" y="254"/>
                      <a:pt x="371" y="240"/>
                      <a:pt x="359" y="228"/>
                    </a:cubicBezTo>
                    <a:cubicBezTo>
                      <a:pt x="347" y="216"/>
                      <a:pt x="332" y="210"/>
                      <a:pt x="315" y="210"/>
                    </a:cubicBezTo>
                    <a:cubicBezTo>
                      <a:pt x="131" y="210"/>
                      <a:pt x="131" y="210"/>
                      <a:pt x="131" y="210"/>
                    </a:cubicBezTo>
                    <a:cubicBezTo>
                      <a:pt x="131" y="66"/>
                      <a:pt x="131" y="66"/>
                      <a:pt x="131" y="66"/>
                    </a:cubicBezTo>
                    <a:cubicBezTo>
                      <a:pt x="131" y="48"/>
                      <a:pt x="124" y="33"/>
                      <a:pt x="112" y="20"/>
                    </a:cubicBezTo>
                    <a:cubicBezTo>
                      <a:pt x="99" y="7"/>
                      <a:pt x="83" y="0"/>
                      <a:pt x="65" y="0"/>
                    </a:cubicBezTo>
                    <a:cubicBezTo>
                      <a:pt x="47" y="0"/>
                      <a:pt x="31" y="7"/>
                      <a:pt x="19" y="19"/>
                    </a:cubicBezTo>
                    <a:cubicBezTo>
                      <a:pt x="6" y="32"/>
                      <a:pt x="0" y="48"/>
                      <a:pt x="0" y="66"/>
                    </a:cubicBezTo>
                    <a:cubicBezTo>
                      <a:pt x="0" y="378"/>
                      <a:pt x="0" y="378"/>
                      <a:pt x="0" y="378"/>
                    </a:cubicBezTo>
                    <a:cubicBezTo>
                      <a:pt x="0" y="432"/>
                      <a:pt x="19" y="478"/>
                      <a:pt x="57" y="517"/>
                    </a:cubicBezTo>
                    <a:cubicBezTo>
                      <a:pt x="95" y="555"/>
                      <a:pt x="142" y="575"/>
                      <a:pt x="196" y="575"/>
                    </a:cubicBezTo>
                    <a:cubicBezTo>
                      <a:pt x="325" y="575"/>
                      <a:pt x="325" y="575"/>
                      <a:pt x="325" y="575"/>
                    </a:cubicBezTo>
                    <a:cubicBezTo>
                      <a:pt x="344" y="575"/>
                      <a:pt x="359" y="568"/>
                      <a:pt x="372" y="555"/>
                    </a:cubicBezTo>
                    <a:cubicBezTo>
                      <a:pt x="385" y="542"/>
                      <a:pt x="391" y="527"/>
                      <a:pt x="391" y="509"/>
                    </a:cubicBezTo>
                    <a:cubicBezTo>
                      <a:pt x="391" y="491"/>
                      <a:pt x="385" y="475"/>
                      <a:pt x="372" y="462"/>
                    </a:cubicBezTo>
                    <a:cubicBezTo>
                      <a:pt x="359" y="449"/>
                      <a:pt x="343" y="443"/>
                      <a:pt x="325" y="443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87" name="Freeform 8">
                <a:extLst>
                  <a:ext uri="{FF2B5EF4-FFF2-40B4-BE49-F238E27FC236}">
                    <a16:creationId xmlns:a16="http://schemas.microsoft.com/office/drawing/2014/main" id="{CC95571E-0915-475E-8E77-41024CDE998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7369642" y="2673297"/>
                <a:ext cx="269503" cy="247324"/>
              </a:xfrm>
              <a:custGeom>
                <a:avLst/>
                <a:gdLst>
                  <a:gd name="T0" fmla="*/ 115 w 522"/>
                  <a:gd name="T1" fmla="*/ 479 h 479"/>
                  <a:gd name="T2" fmla="*/ 13 w 522"/>
                  <a:gd name="T3" fmla="*/ 479 h 479"/>
                  <a:gd name="T4" fmla="*/ 13 w 522"/>
                  <a:gd name="T5" fmla="*/ 154 h 479"/>
                  <a:gd name="T6" fmla="*/ 115 w 522"/>
                  <a:gd name="T7" fmla="*/ 154 h 479"/>
                  <a:gd name="T8" fmla="*/ 115 w 522"/>
                  <a:gd name="T9" fmla="*/ 479 h 479"/>
                  <a:gd name="T10" fmla="*/ 61 w 522"/>
                  <a:gd name="T11" fmla="*/ 113 h 479"/>
                  <a:gd name="T12" fmla="*/ 61 w 522"/>
                  <a:gd name="T13" fmla="*/ 113 h 479"/>
                  <a:gd name="T14" fmla="*/ 0 w 522"/>
                  <a:gd name="T15" fmla="*/ 57 h 479"/>
                  <a:gd name="T16" fmla="*/ 62 w 522"/>
                  <a:gd name="T17" fmla="*/ 0 h 479"/>
                  <a:gd name="T18" fmla="*/ 123 w 522"/>
                  <a:gd name="T19" fmla="*/ 57 h 479"/>
                  <a:gd name="T20" fmla="*/ 61 w 522"/>
                  <a:gd name="T21" fmla="*/ 113 h 479"/>
                  <a:gd name="T22" fmla="*/ 522 w 522"/>
                  <a:gd name="T23" fmla="*/ 479 h 479"/>
                  <a:gd name="T24" fmla="*/ 407 w 522"/>
                  <a:gd name="T25" fmla="*/ 479 h 479"/>
                  <a:gd name="T26" fmla="*/ 407 w 522"/>
                  <a:gd name="T27" fmla="*/ 311 h 479"/>
                  <a:gd name="T28" fmla="*/ 349 w 522"/>
                  <a:gd name="T29" fmla="*/ 237 h 479"/>
                  <a:gd name="T30" fmla="*/ 294 w 522"/>
                  <a:gd name="T31" fmla="*/ 277 h 479"/>
                  <a:gd name="T32" fmla="*/ 291 w 522"/>
                  <a:gd name="T33" fmla="*/ 303 h 479"/>
                  <a:gd name="T34" fmla="*/ 291 w 522"/>
                  <a:gd name="T35" fmla="*/ 479 h 479"/>
                  <a:gd name="T36" fmla="*/ 177 w 522"/>
                  <a:gd name="T37" fmla="*/ 479 h 479"/>
                  <a:gd name="T38" fmla="*/ 177 w 522"/>
                  <a:gd name="T39" fmla="*/ 154 h 479"/>
                  <a:gd name="T40" fmla="*/ 291 w 522"/>
                  <a:gd name="T41" fmla="*/ 154 h 479"/>
                  <a:gd name="T42" fmla="*/ 291 w 522"/>
                  <a:gd name="T43" fmla="*/ 205 h 479"/>
                  <a:gd name="T44" fmla="*/ 393 w 522"/>
                  <a:gd name="T45" fmla="*/ 151 h 479"/>
                  <a:gd name="T46" fmla="*/ 522 w 522"/>
                  <a:gd name="T47" fmla="*/ 298 h 479"/>
                  <a:gd name="T48" fmla="*/ 522 w 522"/>
                  <a:gd name="T49" fmla="*/ 479 h 4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522" h="479">
                    <a:moveTo>
                      <a:pt x="115" y="479"/>
                    </a:moveTo>
                    <a:cubicBezTo>
                      <a:pt x="13" y="479"/>
                      <a:pt x="13" y="479"/>
                      <a:pt x="13" y="479"/>
                    </a:cubicBezTo>
                    <a:cubicBezTo>
                      <a:pt x="13" y="154"/>
                      <a:pt x="13" y="154"/>
                      <a:pt x="13" y="154"/>
                    </a:cubicBezTo>
                    <a:cubicBezTo>
                      <a:pt x="115" y="154"/>
                      <a:pt x="115" y="154"/>
                      <a:pt x="115" y="154"/>
                    </a:cubicBezTo>
                    <a:lnTo>
                      <a:pt x="115" y="479"/>
                    </a:lnTo>
                    <a:close/>
                    <a:moveTo>
                      <a:pt x="61" y="113"/>
                    </a:moveTo>
                    <a:cubicBezTo>
                      <a:pt x="61" y="113"/>
                      <a:pt x="61" y="113"/>
                      <a:pt x="61" y="113"/>
                    </a:cubicBezTo>
                    <a:cubicBezTo>
                      <a:pt x="24" y="113"/>
                      <a:pt x="0" y="88"/>
                      <a:pt x="0" y="57"/>
                    </a:cubicBezTo>
                    <a:cubicBezTo>
                      <a:pt x="0" y="25"/>
                      <a:pt x="25" y="0"/>
                      <a:pt x="62" y="0"/>
                    </a:cubicBezTo>
                    <a:cubicBezTo>
                      <a:pt x="100" y="0"/>
                      <a:pt x="123" y="24"/>
                      <a:pt x="123" y="57"/>
                    </a:cubicBezTo>
                    <a:cubicBezTo>
                      <a:pt x="123" y="88"/>
                      <a:pt x="100" y="113"/>
                      <a:pt x="61" y="113"/>
                    </a:cubicBezTo>
                    <a:close/>
                    <a:moveTo>
                      <a:pt x="522" y="479"/>
                    </a:moveTo>
                    <a:cubicBezTo>
                      <a:pt x="407" y="479"/>
                      <a:pt x="407" y="479"/>
                      <a:pt x="407" y="479"/>
                    </a:cubicBezTo>
                    <a:cubicBezTo>
                      <a:pt x="407" y="311"/>
                      <a:pt x="407" y="311"/>
                      <a:pt x="407" y="311"/>
                    </a:cubicBezTo>
                    <a:cubicBezTo>
                      <a:pt x="407" y="267"/>
                      <a:pt x="388" y="237"/>
                      <a:pt x="349" y="237"/>
                    </a:cubicBezTo>
                    <a:cubicBezTo>
                      <a:pt x="318" y="237"/>
                      <a:pt x="302" y="257"/>
                      <a:pt x="294" y="277"/>
                    </a:cubicBezTo>
                    <a:cubicBezTo>
                      <a:pt x="291" y="284"/>
                      <a:pt x="291" y="293"/>
                      <a:pt x="291" y="303"/>
                    </a:cubicBezTo>
                    <a:cubicBezTo>
                      <a:pt x="291" y="479"/>
                      <a:pt x="291" y="479"/>
                      <a:pt x="291" y="479"/>
                    </a:cubicBezTo>
                    <a:cubicBezTo>
                      <a:pt x="177" y="479"/>
                      <a:pt x="177" y="479"/>
                      <a:pt x="177" y="479"/>
                    </a:cubicBezTo>
                    <a:cubicBezTo>
                      <a:pt x="177" y="479"/>
                      <a:pt x="178" y="181"/>
                      <a:pt x="177" y="154"/>
                    </a:cubicBezTo>
                    <a:cubicBezTo>
                      <a:pt x="291" y="154"/>
                      <a:pt x="291" y="154"/>
                      <a:pt x="291" y="154"/>
                    </a:cubicBezTo>
                    <a:cubicBezTo>
                      <a:pt x="291" y="205"/>
                      <a:pt x="291" y="205"/>
                      <a:pt x="291" y="205"/>
                    </a:cubicBezTo>
                    <a:cubicBezTo>
                      <a:pt x="298" y="183"/>
                      <a:pt x="334" y="151"/>
                      <a:pt x="393" y="151"/>
                    </a:cubicBezTo>
                    <a:cubicBezTo>
                      <a:pt x="465" y="151"/>
                      <a:pt x="522" y="198"/>
                      <a:pt x="522" y="298"/>
                    </a:cubicBezTo>
                    <a:lnTo>
                      <a:pt x="522" y="479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88" name="Freeform 24">
                <a:extLst>
                  <a:ext uri="{FF2B5EF4-FFF2-40B4-BE49-F238E27FC236}">
                    <a16:creationId xmlns:a16="http://schemas.microsoft.com/office/drawing/2014/main" id="{2FC61B0E-46E5-4ECD-B381-9FD0C322CB53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287093" y="3408188"/>
                <a:ext cx="281366" cy="242424"/>
              </a:xfrm>
              <a:custGeom>
                <a:avLst/>
                <a:gdLst>
                  <a:gd name="T0" fmla="*/ 542 w 545"/>
                  <a:gd name="T1" fmla="*/ 111 h 470"/>
                  <a:gd name="T2" fmla="*/ 431 w 545"/>
                  <a:gd name="T3" fmla="*/ 327 h 470"/>
                  <a:gd name="T4" fmla="*/ 244 w 545"/>
                  <a:gd name="T5" fmla="*/ 470 h 470"/>
                  <a:gd name="T6" fmla="*/ 164 w 545"/>
                  <a:gd name="T7" fmla="*/ 383 h 470"/>
                  <a:gd name="T8" fmla="*/ 121 w 545"/>
                  <a:gd name="T9" fmla="*/ 223 h 470"/>
                  <a:gd name="T10" fmla="*/ 68 w 545"/>
                  <a:gd name="T11" fmla="*/ 135 h 470"/>
                  <a:gd name="T12" fmla="*/ 26 w 545"/>
                  <a:gd name="T13" fmla="*/ 161 h 470"/>
                  <a:gd name="T14" fmla="*/ 0 w 545"/>
                  <a:gd name="T15" fmla="*/ 128 h 470"/>
                  <a:gd name="T16" fmla="*/ 79 w 545"/>
                  <a:gd name="T17" fmla="*/ 58 h 470"/>
                  <a:gd name="T18" fmla="*/ 160 w 545"/>
                  <a:gd name="T19" fmla="*/ 9 h 470"/>
                  <a:gd name="T20" fmla="*/ 237 w 545"/>
                  <a:gd name="T21" fmla="*/ 95 h 470"/>
                  <a:gd name="T22" fmla="*/ 259 w 545"/>
                  <a:gd name="T23" fmla="*/ 219 h 470"/>
                  <a:gd name="T24" fmla="*/ 299 w 545"/>
                  <a:gd name="T25" fmla="*/ 302 h 470"/>
                  <a:gd name="T26" fmla="*/ 350 w 545"/>
                  <a:gd name="T27" fmla="*/ 248 h 470"/>
                  <a:gd name="T28" fmla="*/ 387 w 545"/>
                  <a:gd name="T29" fmla="*/ 167 h 470"/>
                  <a:gd name="T30" fmla="*/ 350 w 545"/>
                  <a:gd name="T31" fmla="*/ 121 h 470"/>
                  <a:gd name="T32" fmla="*/ 310 w 545"/>
                  <a:gd name="T33" fmla="*/ 129 h 470"/>
                  <a:gd name="T34" fmla="*/ 463 w 545"/>
                  <a:gd name="T35" fmla="*/ 3 h 470"/>
                  <a:gd name="T36" fmla="*/ 542 w 545"/>
                  <a:gd name="T37" fmla="*/ 111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545" h="470">
                    <a:moveTo>
                      <a:pt x="542" y="111"/>
                    </a:moveTo>
                    <a:cubicBezTo>
                      <a:pt x="540" y="164"/>
                      <a:pt x="503" y="236"/>
                      <a:pt x="431" y="327"/>
                    </a:cubicBezTo>
                    <a:cubicBezTo>
                      <a:pt x="358" y="423"/>
                      <a:pt x="295" y="470"/>
                      <a:pt x="244" y="470"/>
                    </a:cubicBezTo>
                    <a:cubicBezTo>
                      <a:pt x="213" y="470"/>
                      <a:pt x="186" y="441"/>
                      <a:pt x="164" y="383"/>
                    </a:cubicBezTo>
                    <a:cubicBezTo>
                      <a:pt x="150" y="329"/>
                      <a:pt x="135" y="276"/>
                      <a:pt x="121" y="223"/>
                    </a:cubicBezTo>
                    <a:cubicBezTo>
                      <a:pt x="104" y="164"/>
                      <a:pt x="87" y="135"/>
                      <a:pt x="68" y="135"/>
                    </a:cubicBezTo>
                    <a:cubicBezTo>
                      <a:pt x="64" y="135"/>
                      <a:pt x="50" y="144"/>
                      <a:pt x="26" y="161"/>
                    </a:cubicBezTo>
                    <a:cubicBezTo>
                      <a:pt x="0" y="128"/>
                      <a:pt x="0" y="128"/>
                      <a:pt x="0" y="128"/>
                    </a:cubicBezTo>
                    <a:cubicBezTo>
                      <a:pt x="27" y="105"/>
                      <a:pt x="53" y="81"/>
                      <a:pt x="79" y="58"/>
                    </a:cubicBezTo>
                    <a:cubicBezTo>
                      <a:pt x="115" y="27"/>
                      <a:pt x="142" y="11"/>
                      <a:pt x="160" y="9"/>
                    </a:cubicBezTo>
                    <a:cubicBezTo>
                      <a:pt x="202" y="5"/>
                      <a:pt x="227" y="34"/>
                      <a:pt x="237" y="95"/>
                    </a:cubicBezTo>
                    <a:cubicBezTo>
                      <a:pt x="248" y="162"/>
                      <a:pt x="255" y="203"/>
                      <a:pt x="259" y="219"/>
                    </a:cubicBezTo>
                    <a:cubicBezTo>
                      <a:pt x="271" y="274"/>
                      <a:pt x="285" y="302"/>
                      <a:pt x="299" y="302"/>
                    </a:cubicBezTo>
                    <a:cubicBezTo>
                      <a:pt x="310" y="302"/>
                      <a:pt x="327" y="284"/>
                      <a:pt x="350" y="248"/>
                    </a:cubicBezTo>
                    <a:cubicBezTo>
                      <a:pt x="373" y="213"/>
                      <a:pt x="385" y="185"/>
                      <a:pt x="387" y="167"/>
                    </a:cubicBezTo>
                    <a:cubicBezTo>
                      <a:pt x="390" y="136"/>
                      <a:pt x="378" y="121"/>
                      <a:pt x="350" y="121"/>
                    </a:cubicBezTo>
                    <a:cubicBezTo>
                      <a:pt x="337" y="121"/>
                      <a:pt x="324" y="123"/>
                      <a:pt x="310" y="129"/>
                    </a:cubicBezTo>
                    <a:cubicBezTo>
                      <a:pt x="337" y="43"/>
                      <a:pt x="388" y="0"/>
                      <a:pt x="463" y="3"/>
                    </a:cubicBezTo>
                    <a:cubicBezTo>
                      <a:pt x="519" y="5"/>
                      <a:pt x="545" y="41"/>
                      <a:pt x="542" y="111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89" name="Group 225">
                <a:extLst>
                  <a:ext uri="{FF2B5EF4-FFF2-40B4-BE49-F238E27FC236}">
                    <a16:creationId xmlns:a16="http://schemas.microsoft.com/office/drawing/2014/main" id="{3BE65C36-1548-4D36-A3EA-9A4B3529FCD1}"/>
                  </a:ext>
                </a:extLst>
              </p:cNvPr>
              <p:cNvGrpSpPr/>
              <p:nvPr/>
            </p:nvGrpSpPr>
            <p:grpSpPr bwMode="gray">
              <a:xfrm>
                <a:off x="6833932" y="3517791"/>
                <a:ext cx="318761" cy="302514"/>
                <a:chOff x="11363326" y="13130213"/>
                <a:chExt cx="1962150" cy="1862138"/>
              </a:xfrm>
              <a:grpFill/>
            </p:grpSpPr>
            <p:sp>
              <p:nvSpPr>
                <p:cNvPr id="102" name="Freeform 15">
                  <a:extLst>
                    <a:ext uri="{FF2B5EF4-FFF2-40B4-BE49-F238E27FC236}">
                      <a16:creationId xmlns:a16="http://schemas.microsoft.com/office/drawing/2014/main" id="{85433173-6336-4D12-93C5-C19FA1CBB4E5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2584113" y="13130213"/>
                  <a:ext cx="741363" cy="741363"/>
                </a:xfrm>
                <a:custGeom>
                  <a:avLst/>
                  <a:gdLst>
                    <a:gd name="T0" fmla="*/ 274 w 467"/>
                    <a:gd name="T1" fmla="*/ 192 h 467"/>
                    <a:gd name="T2" fmla="*/ 274 w 467"/>
                    <a:gd name="T3" fmla="*/ 0 h 467"/>
                    <a:gd name="T4" fmla="*/ 192 w 467"/>
                    <a:gd name="T5" fmla="*/ 0 h 467"/>
                    <a:gd name="T6" fmla="*/ 192 w 467"/>
                    <a:gd name="T7" fmla="*/ 192 h 467"/>
                    <a:gd name="T8" fmla="*/ 0 w 467"/>
                    <a:gd name="T9" fmla="*/ 192 h 467"/>
                    <a:gd name="T10" fmla="*/ 0 w 467"/>
                    <a:gd name="T11" fmla="*/ 273 h 467"/>
                    <a:gd name="T12" fmla="*/ 192 w 467"/>
                    <a:gd name="T13" fmla="*/ 273 h 467"/>
                    <a:gd name="T14" fmla="*/ 192 w 467"/>
                    <a:gd name="T15" fmla="*/ 467 h 467"/>
                    <a:gd name="T16" fmla="*/ 274 w 467"/>
                    <a:gd name="T17" fmla="*/ 467 h 467"/>
                    <a:gd name="T18" fmla="*/ 274 w 467"/>
                    <a:gd name="T19" fmla="*/ 273 h 467"/>
                    <a:gd name="T20" fmla="*/ 467 w 467"/>
                    <a:gd name="T21" fmla="*/ 273 h 467"/>
                    <a:gd name="T22" fmla="*/ 467 w 467"/>
                    <a:gd name="T23" fmla="*/ 192 h 467"/>
                    <a:gd name="T24" fmla="*/ 274 w 467"/>
                    <a:gd name="T25" fmla="*/ 192 h 4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467" h="467">
                      <a:moveTo>
                        <a:pt x="274" y="192"/>
                      </a:moveTo>
                      <a:lnTo>
                        <a:pt x="274" y="0"/>
                      </a:lnTo>
                      <a:lnTo>
                        <a:pt x="192" y="0"/>
                      </a:lnTo>
                      <a:lnTo>
                        <a:pt x="192" y="192"/>
                      </a:lnTo>
                      <a:lnTo>
                        <a:pt x="0" y="192"/>
                      </a:lnTo>
                      <a:lnTo>
                        <a:pt x="0" y="273"/>
                      </a:lnTo>
                      <a:lnTo>
                        <a:pt x="192" y="273"/>
                      </a:lnTo>
                      <a:lnTo>
                        <a:pt x="192" y="467"/>
                      </a:lnTo>
                      <a:lnTo>
                        <a:pt x="274" y="467"/>
                      </a:lnTo>
                      <a:lnTo>
                        <a:pt x="274" y="273"/>
                      </a:lnTo>
                      <a:lnTo>
                        <a:pt x="467" y="273"/>
                      </a:lnTo>
                      <a:lnTo>
                        <a:pt x="467" y="192"/>
                      </a:lnTo>
                      <a:lnTo>
                        <a:pt x="274" y="19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3" name="Freeform 16">
                  <a:extLst>
                    <a:ext uri="{FF2B5EF4-FFF2-40B4-BE49-F238E27FC236}">
                      <a16:creationId xmlns:a16="http://schemas.microsoft.com/office/drawing/2014/main" id="{A4DAD00C-52AA-45B3-AE1E-E2C5BC0ADA75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11363326" y="13130213"/>
                  <a:ext cx="1220788" cy="1862138"/>
                </a:xfrm>
                <a:custGeom>
                  <a:avLst/>
                  <a:gdLst>
                    <a:gd name="T0" fmla="*/ 327 w 384"/>
                    <a:gd name="T1" fmla="*/ 354 h 586"/>
                    <a:gd name="T2" fmla="*/ 275 w 384"/>
                    <a:gd name="T3" fmla="*/ 311 h 586"/>
                    <a:gd name="T4" fmla="*/ 255 w 384"/>
                    <a:gd name="T5" fmla="*/ 278 h 586"/>
                    <a:gd name="T6" fmla="*/ 277 w 384"/>
                    <a:gd name="T7" fmla="*/ 240 h 586"/>
                    <a:gd name="T8" fmla="*/ 322 w 384"/>
                    <a:gd name="T9" fmla="*/ 197 h 586"/>
                    <a:gd name="T10" fmla="*/ 342 w 384"/>
                    <a:gd name="T11" fmla="*/ 131 h 586"/>
                    <a:gd name="T12" fmla="*/ 321 w 384"/>
                    <a:gd name="T13" fmla="*/ 62 h 586"/>
                    <a:gd name="T14" fmla="*/ 287 w 384"/>
                    <a:gd name="T15" fmla="*/ 27 h 586"/>
                    <a:gd name="T16" fmla="*/ 384 w 384"/>
                    <a:gd name="T17" fmla="*/ 0 h 586"/>
                    <a:gd name="T18" fmla="*/ 157 w 384"/>
                    <a:gd name="T19" fmla="*/ 7 h 586"/>
                    <a:gd name="T20" fmla="*/ 51 w 384"/>
                    <a:gd name="T21" fmla="*/ 91 h 586"/>
                    <a:gd name="T22" fmla="*/ 47 w 384"/>
                    <a:gd name="T23" fmla="*/ 189 h 586"/>
                    <a:gd name="T24" fmla="*/ 112 w 384"/>
                    <a:gd name="T25" fmla="*/ 255 h 586"/>
                    <a:gd name="T26" fmla="*/ 179 w 384"/>
                    <a:gd name="T27" fmla="*/ 265 h 586"/>
                    <a:gd name="T28" fmla="*/ 185 w 384"/>
                    <a:gd name="T29" fmla="*/ 278 h 586"/>
                    <a:gd name="T30" fmla="*/ 190 w 384"/>
                    <a:gd name="T31" fmla="*/ 324 h 586"/>
                    <a:gd name="T32" fmla="*/ 175 w 384"/>
                    <a:gd name="T33" fmla="*/ 349 h 586"/>
                    <a:gd name="T34" fmla="*/ 97 w 384"/>
                    <a:gd name="T35" fmla="*/ 365 h 586"/>
                    <a:gd name="T36" fmla="*/ 13 w 384"/>
                    <a:gd name="T37" fmla="*/ 428 h 586"/>
                    <a:gd name="T38" fmla="*/ 10 w 384"/>
                    <a:gd name="T39" fmla="*/ 517 h 586"/>
                    <a:gd name="T40" fmla="*/ 93 w 384"/>
                    <a:gd name="T41" fmla="*/ 576 h 586"/>
                    <a:gd name="T42" fmla="*/ 253 w 384"/>
                    <a:gd name="T43" fmla="*/ 573 h 586"/>
                    <a:gd name="T44" fmla="*/ 355 w 384"/>
                    <a:gd name="T45" fmla="*/ 493 h 586"/>
                    <a:gd name="T46" fmla="*/ 362 w 384"/>
                    <a:gd name="T47" fmla="*/ 405 h 586"/>
                    <a:gd name="T48" fmla="*/ 202 w 384"/>
                    <a:gd name="T49" fmla="*/ 244 h 586"/>
                    <a:gd name="T50" fmla="*/ 130 w 384"/>
                    <a:gd name="T51" fmla="*/ 195 h 586"/>
                    <a:gd name="T52" fmla="*/ 106 w 384"/>
                    <a:gd name="T53" fmla="*/ 107 h 586"/>
                    <a:gd name="T54" fmla="*/ 123 w 384"/>
                    <a:gd name="T55" fmla="*/ 50 h 586"/>
                    <a:gd name="T56" fmla="*/ 177 w 384"/>
                    <a:gd name="T57" fmla="*/ 24 h 586"/>
                    <a:gd name="T58" fmla="*/ 249 w 384"/>
                    <a:gd name="T59" fmla="*/ 75 h 586"/>
                    <a:gd name="T60" fmla="*/ 274 w 384"/>
                    <a:gd name="T61" fmla="*/ 166 h 586"/>
                    <a:gd name="T62" fmla="*/ 255 w 384"/>
                    <a:gd name="T63" fmla="*/ 223 h 586"/>
                    <a:gd name="T64" fmla="*/ 202 w 384"/>
                    <a:gd name="T65" fmla="*/ 244 h 586"/>
                    <a:gd name="T66" fmla="*/ 203 w 384"/>
                    <a:gd name="T67" fmla="*/ 553 h 586"/>
                    <a:gd name="T68" fmla="*/ 68 w 384"/>
                    <a:gd name="T69" fmla="*/ 460 h 586"/>
                    <a:gd name="T70" fmla="*/ 95 w 384"/>
                    <a:gd name="T71" fmla="*/ 402 h 586"/>
                    <a:gd name="T72" fmla="*/ 134 w 384"/>
                    <a:gd name="T73" fmla="*/ 380 h 586"/>
                    <a:gd name="T74" fmla="*/ 184 w 384"/>
                    <a:gd name="T75" fmla="*/ 370 h 586"/>
                    <a:gd name="T76" fmla="*/ 215 w 384"/>
                    <a:gd name="T77" fmla="*/ 368 h 586"/>
                    <a:gd name="T78" fmla="*/ 232 w 384"/>
                    <a:gd name="T79" fmla="*/ 369 h 586"/>
                    <a:gd name="T80" fmla="*/ 296 w 384"/>
                    <a:gd name="T81" fmla="*/ 420 h 586"/>
                    <a:gd name="T82" fmla="*/ 316 w 384"/>
                    <a:gd name="T83" fmla="*/ 470 h 5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84" h="586">
                      <a:moveTo>
                        <a:pt x="348" y="377"/>
                      </a:moveTo>
                      <a:cubicBezTo>
                        <a:pt x="342" y="369"/>
                        <a:pt x="335" y="361"/>
                        <a:pt x="327" y="354"/>
                      </a:cubicBezTo>
                      <a:cubicBezTo>
                        <a:pt x="319" y="347"/>
                        <a:pt x="311" y="340"/>
                        <a:pt x="303" y="332"/>
                      </a:cubicBezTo>
                      <a:cubicBezTo>
                        <a:pt x="275" y="311"/>
                        <a:pt x="275" y="311"/>
                        <a:pt x="275" y="311"/>
                      </a:cubicBezTo>
                      <a:cubicBezTo>
                        <a:pt x="271" y="307"/>
                        <a:pt x="267" y="303"/>
                        <a:pt x="262" y="298"/>
                      </a:cubicBezTo>
                      <a:cubicBezTo>
                        <a:pt x="258" y="293"/>
                        <a:pt x="255" y="286"/>
                        <a:pt x="255" y="278"/>
                      </a:cubicBezTo>
                      <a:cubicBezTo>
                        <a:pt x="255" y="269"/>
                        <a:pt x="258" y="262"/>
                        <a:pt x="262" y="256"/>
                      </a:cubicBezTo>
                      <a:cubicBezTo>
                        <a:pt x="267" y="250"/>
                        <a:pt x="272" y="245"/>
                        <a:pt x="277" y="240"/>
                      </a:cubicBezTo>
                      <a:cubicBezTo>
                        <a:pt x="285" y="234"/>
                        <a:pt x="293" y="227"/>
                        <a:pt x="301" y="220"/>
                      </a:cubicBezTo>
                      <a:cubicBezTo>
                        <a:pt x="309" y="213"/>
                        <a:pt x="315" y="206"/>
                        <a:pt x="322" y="197"/>
                      </a:cubicBezTo>
                      <a:cubicBezTo>
                        <a:pt x="328" y="189"/>
                        <a:pt x="333" y="179"/>
                        <a:pt x="336" y="168"/>
                      </a:cubicBezTo>
                      <a:cubicBezTo>
                        <a:pt x="340" y="158"/>
                        <a:pt x="342" y="145"/>
                        <a:pt x="342" y="131"/>
                      </a:cubicBezTo>
                      <a:cubicBezTo>
                        <a:pt x="342" y="116"/>
                        <a:pt x="340" y="103"/>
                        <a:pt x="335" y="92"/>
                      </a:cubicBezTo>
                      <a:cubicBezTo>
                        <a:pt x="331" y="81"/>
                        <a:pt x="326" y="71"/>
                        <a:pt x="321" y="62"/>
                      </a:cubicBezTo>
                      <a:cubicBezTo>
                        <a:pt x="315" y="54"/>
                        <a:pt x="309" y="47"/>
                        <a:pt x="303" y="41"/>
                      </a:cubicBezTo>
                      <a:cubicBezTo>
                        <a:pt x="297" y="35"/>
                        <a:pt x="292" y="30"/>
                        <a:pt x="287" y="27"/>
                      </a:cubicBezTo>
                      <a:cubicBezTo>
                        <a:pt x="335" y="27"/>
                        <a:pt x="335" y="27"/>
                        <a:pt x="335" y="27"/>
                      </a:cubicBezTo>
                      <a:cubicBezTo>
                        <a:pt x="384" y="0"/>
                        <a:pt x="384" y="0"/>
                        <a:pt x="384" y="0"/>
                      </a:cubicBezTo>
                      <a:cubicBezTo>
                        <a:pt x="225" y="0"/>
                        <a:pt x="225" y="0"/>
                        <a:pt x="225" y="0"/>
                      </a:cubicBezTo>
                      <a:cubicBezTo>
                        <a:pt x="204" y="0"/>
                        <a:pt x="182" y="2"/>
                        <a:pt x="157" y="7"/>
                      </a:cubicBezTo>
                      <a:cubicBezTo>
                        <a:pt x="133" y="13"/>
                        <a:pt x="110" y="24"/>
                        <a:pt x="88" y="42"/>
                      </a:cubicBezTo>
                      <a:cubicBezTo>
                        <a:pt x="71" y="56"/>
                        <a:pt x="59" y="73"/>
                        <a:pt x="51" y="91"/>
                      </a:cubicBezTo>
                      <a:cubicBezTo>
                        <a:pt x="43" y="109"/>
                        <a:pt x="39" y="127"/>
                        <a:pt x="39" y="145"/>
                      </a:cubicBezTo>
                      <a:cubicBezTo>
                        <a:pt x="39" y="160"/>
                        <a:pt x="41" y="175"/>
                        <a:pt x="47" y="189"/>
                      </a:cubicBezTo>
                      <a:cubicBezTo>
                        <a:pt x="53" y="204"/>
                        <a:pt x="61" y="217"/>
                        <a:pt x="72" y="228"/>
                      </a:cubicBezTo>
                      <a:cubicBezTo>
                        <a:pt x="82" y="239"/>
                        <a:pt x="96" y="249"/>
                        <a:pt x="112" y="255"/>
                      </a:cubicBezTo>
                      <a:cubicBezTo>
                        <a:pt x="128" y="262"/>
                        <a:pt x="146" y="266"/>
                        <a:pt x="166" y="266"/>
                      </a:cubicBezTo>
                      <a:cubicBezTo>
                        <a:pt x="170" y="266"/>
                        <a:pt x="174" y="266"/>
                        <a:pt x="179" y="265"/>
                      </a:cubicBezTo>
                      <a:cubicBezTo>
                        <a:pt x="183" y="265"/>
                        <a:pt x="187" y="265"/>
                        <a:pt x="191" y="264"/>
                      </a:cubicBezTo>
                      <a:cubicBezTo>
                        <a:pt x="189" y="269"/>
                        <a:pt x="187" y="273"/>
                        <a:pt x="185" y="278"/>
                      </a:cubicBezTo>
                      <a:cubicBezTo>
                        <a:pt x="184" y="282"/>
                        <a:pt x="183" y="288"/>
                        <a:pt x="183" y="294"/>
                      </a:cubicBezTo>
                      <a:cubicBezTo>
                        <a:pt x="183" y="306"/>
                        <a:pt x="186" y="316"/>
                        <a:pt x="190" y="324"/>
                      </a:cubicBezTo>
                      <a:cubicBezTo>
                        <a:pt x="195" y="332"/>
                        <a:pt x="201" y="339"/>
                        <a:pt x="206" y="347"/>
                      </a:cubicBezTo>
                      <a:cubicBezTo>
                        <a:pt x="198" y="347"/>
                        <a:pt x="187" y="348"/>
                        <a:pt x="175" y="349"/>
                      </a:cubicBezTo>
                      <a:cubicBezTo>
                        <a:pt x="164" y="350"/>
                        <a:pt x="151" y="352"/>
                        <a:pt x="138" y="354"/>
                      </a:cubicBezTo>
                      <a:cubicBezTo>
                        <a:pt x="124" y="357"/>
                        <a:pt x="111" y="360"/>
                        <a:pt x="97" y="365"/>
                      </a:cubicBezTo>
                      <a:cubicBezTo>
                        <a:pt x="84" y="369"/>
                        <a:pt x="71" y="375"/>
                        <a:pt x="59" y="382"/>
                      </a:cubicBezTo>
                      <a:cubicBezTo>
                        <a:pt x="37" y="395"/>
                        <a:pt x="21" y="411"/>
                        <a:pt x="13" y="428"/>
                      </a:cubicBezTo>
                      <a:cubicBezTo>
                        <a:pt x="4" y="446"/>
                        <a:pt x="0" y="462"/>
                        <a:pt x="0" y="476"/>
                      </a:cubicBezTo>
                      <a:cubicBezTo>
                        <a:pt x="0" y="490"/>
                        <a:pt x="3" y="504"/>
                        <a:pt x="10" y="517"/>
                      </a:cubicBezTo>
                      <a:cubicBezTo>
                        <a:pt x="17" y="530"/>
                        <a:pt x="27" y="542"/>
                        <a:pt x="41" y="552"/>
                      </a:cubicBezTo>
                      <a:cubicBezTo>
                        <a:pt x="55" y="562"/>
                        <a:pt x="72" y="570"/>
                        <a:pt x="93" y="576"/>
                      </a:cubicBezTo>
                      <a:cubicBezTo>
                        <a:pt x="114" y="583"/>
                        <a:pt x="138" y="586"/>
                        <a:pt x="165" y="586"/>
                      </a:cubicBezTo>
                      <a:cubicBezTo>
                        <a:pt x="198" y="586"/>
                        <a:pt x="227" y="581"/>
                        <a:pt x="253" y="573"/>
                      </a:cubicBezTo>
                      <a:cubicBezTo>
                        <a:pt x="278" y="565"/>
                        <a:pt x="299" y="554"/>
                        <a:pt x="316" y="540"/>
                      </a:cubicBezTo>
                      <a:cubicBezTo>
                        <a:pt x="333" y="526"/>
                        <a:pt x="346" y="511"/>
                        <a:pt x="355" y="493"/>
                      </a:cubicBezTo>
                      <a:cubicBezTo>
                        <a:pt x="363" y="476"/>
                        <a:pt x="368" y="458"/>
                        <a:pt x="368" y="440"/>
                      </a:cubicBezTo>
                      <a:cubicBezTo>
                        <a:pt x="368" y="427"/>
                        <a:pt x="366" y="415"/>
                        <a:pt x="362" y="405"/>
                      </a:cubicBezTo>
                      <a:cubicBezTo>
                        <a:pt x="359" y="394"/>
                        <a:pt x="354" y="385"/>
                        <a:pt x="348" y="377"/>
                      </a:cubicBezTo>
                      <a:close/>
                      <a:moveTo>
                        <a:pt x="202" y="244"/>
                      </a:moveTo>
                      <a:cubicBezTo>
                        <a:pt x="186" y="244"/>
                        <a:pt x="172" y="240"/>
                        <a:pt x="160" y="230"/>
                      </a:cubicBezTo>
                      <a:cubicBezTo>
                        <a:pt x="148" y="220"/>
                        <a:pt x="138" y="209"/>
                        <a:pt x="130" y="195"/>
                      </a:cubicBezTo>
                      <a:cubicBezTo>
                        <a:pt x="122" y="181"/>
                        <a:pt x="116" y="166"/>
                        <a:pt x="112" y="150"/>
                      </a:cubicBezTo>
                      <a:cubicBezTo>
                        <a:pt x="108" y="134"/>
                        <a:pt x="106" y="120"/>
                        <a:pt x="106" y="107"/>
                      </a:cubicBezTo>
                      <a:cubicBezTo>
                        <a:pt x="106" y="97"/>
                        <a:pt x="107" y="87"/>
                        <a:pt x="110" y="77"/>
                      </a:cubicBezTo>
                      <a:cubicBezTo>
                        <a:pt x="112" y="67"/>
                        <a:pt x="117" y="58"/>
                        <a:pt x="123" y="50"/>
                      </a:cubicBezTo>
                      <a:cubicBezTo>
                        <a:pt x="129" y="42"/>
                        <a:pt x="137" y="36"/>
                        <a:pt x="147" y="31"/>
                      </a:cubicBezTo>
                      <a:cubicBezTo>
                        <a:pt x="157" y="27"/>
                        <a:pt x="167" y="24"/>
                        <a:pt x="177" y="24"/>
                      </a:cubicBezTo>
                      <a:cubicBezTo>
                        <a:pt x="193" y="24"/>
                        <a:pt x="207" y="29"/>
                        <a:pt x="219" y="39"/>
                      </a:cubicBezTo>
                      <a:cubicBezTo>
                        <a:pt x="231" y="48"/>
                        <a:pt x="241" y="60"/>
                        <a:pt x="249" y="75"/>
                      </a:cubicBezTo>
                      <a:cubicBezTo>
                        <a:pt x="257" y="89"/>
                        <a:pt x="264" y="104"/>
                        <a:pt x="268" y="121"/>
                      </a:cubicBezTo>
                      <a:cubicBezTo>
                        <a:pt x="272" y="137"/>
                        <a:pt x="274" y="152"/>
                        <a:pt x="274" y="166"/>
                      </a:cubicBezTo>
                      <a:cubicBezTo>
                        <a:pt x="274" y="174"/>
                        <a:pt x="273" y="183"/>
                        <a:pt x="271" y="193"/>
                      </a:cubicBezTo>
                      <a:cubicBezTo>
                        <a:pt x="269" y="204"/>
                        <a:pt x="263" y="214"/>
                        <a:pt x="255" y="223"/>
                      </a:cubicBezTo>
                      <a:cubicBezTo>
                        <a:pt x="249" y="229"/>
                        <a:pt x="241" y="234"/>
                        <a:pt x="231" y="238"/>
                      </a:cubicBezTo>
                      <a:cubicBezTo>
                        <a:pt x="222" y="242"/>
                        <a:pt x="212" y="244"/>
                        <a:pt x="202" y="244"/>
                      </a:cubicBezTo>
                      <a:close/>
                      <a:moveTo>
                        <a:pt x="287" y="530"/>
                      </a:moveTo>
                      <a:cubicBezTo>
                        <a:pt x="268" y="546"/>
                        <a:pt x="240" y="553"/>
                        <a:pt x="203" y="553"/>
                      </a:cubicBezTo>
                      <a:cubicBezTo>
                        <a:pt x="162" y="553"/>
                        <a:pt x="129" y="545"/>
                        <a:pt x="104" y="527"/>
                      </a:cubicBezTo>
                      <a:cubicBezTo>
                        <a:pt x="80" y="510"/>
                        <a:pt x="68" y="487"/>
                        <a:pt x="68" y="460"/>
                      </a:cubicBezTo>
                      <a:cubicBezTo>
                        <a:pt x="68" y="446"/>
                        <a:pt x="70" y="434"/>
                        <a:pt x="76" y="425"/>
                      </a:cubicBezTo>
                      <a:cubicBezTo>
                        <a:pt x="81" y="416"/>
                        <a:pt x="88" y="408"/>
                        <a:pt x="95" y="402"/>
                      </a:cubicBezTo>
                      <a:cubicBezTo>
                        <a:pt x="102" y="396"/>
                        <a:pt x="109" y="391"/>
                        <a:pt x="117" y="388"/>
                      </a:cubicBezTo>
                      <a:cubicBezTo>
                        <a:pt x="124" y="384"/>
                        <a:pt x="130" y="382"/>
                        <a:pt x="134" y="380"/>
                      </a:cubicBezTo>
                      <a:cubicBezTo>
                        <a:pt x="142" y="378"/>
                        <a:pt x="151" y="376"/>
                        <a:pt x="159" y="374"/>
                      </a:cubicBezTo>
                      <a:cubicBezTo>
                        <a:pt x="168" y="372"/>
                        <a:pt x="176" y="371"/>
                        <a:pt x="184" y="370"/>
                      </a:cubicBezTo>
                      <a:cubicBezTo>
                        <a:pt x="192" y="369"/>
                        <a:pt x="198" y="369"/>
                        <a:pt x="204" y="368"/>
                      </a:cubicBezTo>
                      <a:cubicBezTo>
                        <a:pt x="210" y="368"/>
                        <a:pt x="213" y="368"/>
                        <a:pt x="215" y="368"/>
                      </a:cubicBezTo>
                      <a:cubicBezTo>
                        <a:pt x="219" y="368"/>
                        <a:pt x="222" y="368"/>
                        <a:pt x="224" y="368"/>
                      </a:cubicBezTo>
                      <a:cubicBezTo>
                        <a:pt x="227" y="368"/>
                        <a:pt x="229" y="368"/>
                        <a:pt x="232" y="369"/>
                      </a:cubicBezTo>
                      <a:cubicBezTo>
                        <a:pt x="247" y="379"/>
                        <a:pt x="259" y="388"/>
                        <a:pt x="270" y="397"/>
                      </a:cubicBezTo>
                      <a:cubicBezTo>
                        <a:pt x="281" y="405"/>
                        <a:pt x="290" y="413"/>
                        <a:pt x="296" y="420"/>
                      </a:cubicBezTo>
                      <a:cubicBezTo>
                        <a:pt x="303" y="428"/>
                        <a:pt x="308" y="436"/>
                        <a:pt x="311" y="444"/>
                      </a:cubicBezTo>
                      <a:cubicBezTo>
                        <a:pt x="315" y="452"/>
                        <a:pt x="316" y="461"/>
                        <a:pt x="316" y="470"/>
                      </a:cubicBezTo>
                      <a:cubicBezTo>
                        <a:pt x="316" y="494"/>
                        <a:pt x="307" y="514"/>
                        <a:pt x="287" y="53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sp>
            <p:nvSpPr>
              <p:cNvPr id="90" name="Freeform 17">
                <a:extLst>
                  <a:ext uri="{FF2B5EF4-FFF2-40B4-BE49-F238E27FC236}">
                    <a16:creationId xmlns:a16="http://schemas.microsoft.com/office/drawing/2014/main" id="{61C3939E-8058-41DA-A715-05D60DA11DC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7662123" y="2888904"/>
                <a:ext cx="278750" cy="575162"/>
              </a:xfrm>
              <a:custGeom>
                <a:avLst/>
                <a:gdLst>
                  <a:gd name="T0" fmla="*/ 63 w 292"/>
                  <a:gd name="T1" fmla="*/ 121 h 602"/>
                  <a:gd name="T2" fmla="*/ 63 w 292"/>
                  <a:gd name="T3" fmla="*/ 207 h 602"/>
                  <a:gd name="T4" fmla="*/ 0 w 292"/>
                  <a:gd name="T5" fmla="*/ 207 h 602"/>
                  <a:gd name="T6" fmla="*/ 0 w 292"/>
                  <a:gd name="T7" fmla="*/ 313 h 602"/>
                  <a:gd name="T8" fmla="*/ 63 w 292"/>
                  <a:gd name="T9" fmla="*/ 313 h 602"/>
                  <a:gd name="T10" fmla="*/ 63 w 292"/>
                  <a:gd name="T11" fmla="*/ 602 h 602"/>
                  <a:gd name="T12" fmla="*/ 193 w 292"/>
                  <a:gd name="T13" fmla="*/ 602 h 602"/>
                  <a:gd name="T14" fmla="*/ 193 w 292"/>
                  <a:gd name="T15" fmla="*/ 313 h 602"/>
                  <a:gd name="T16" fmla="*/ 280 w 292"/>
                  <a:gd name="T17" fmla="*/ 313 h 602"/>
                  <a:gd name="T18" fmla="*/ 292 w 292"/>
                  <a:gd name="T19" fmla="*/ 207 h 602"/>
                  <a:gd name="T20" fmla="*/ 194 w 292"/>
                  <a:gd name="T21" fmla="*/ 207 h 602"/>
                  <a:gd name="T22" fmla="*/ 194 w 292"/>
                  <a:gd name="T23" fmla="*/ 135 h 602"/>
                  <a:gd name="T24" fmla="*/ 222 w 292"/>
                  <a:gd name="T25" fmla="*/ 109 h 602"/>
                  <a:gd name="T26" fmla="*/ 292 w 292"/>
                  <a:gd name="T27" fmla="*/ 109 h 602"/>
                  <a:gd name="T28" fmla="*/ 292 w 292"/>
                  <a:gd name="T29" fmla="*/ 0 h 602"/>
                  <a:gd name="T30" fmla="*/ 196 w 292"/>
                  <a:gd name="T31" fmla="*/ 0 h 602"/>
                  <a:gd name="T32" fmla="*/ 63 w 292"/>
                  <a:gd name="T33" fmla="*/ 121 h 6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292" h="602">
                    <a:moveTo>
                      <a:pt x="63" y="121"/>
                    </a:moveTo>
                    <a:cubicBezTo>
                      <a:pt x="63" y="137"/>
                      <a:pt x="63" y="207"/>
                      <a:pt x="63" y="207"/>
                    </a:cubicBezTo>
                    <a:cubicBezTo>
                      <a:pt x="0" y="207"/>
                      <a:pt x="0" y="207"/>
                      <a:pt x="0" y="207"/>
                    </a:cubicBezTo>
                    <a:cubicBezTo>
                      <a:pt x="0" y="313"/>
                      <a:pt x="0" y="313"/>
                      <a:pt x="0" y="313"/>
                    </a:cubicBezTo>
                    <a:cubicBezTo>
                      <a:pt x="63" y="313"/>
                      <a:pt x="63" y="313"/>
                      <a:pt x="63" y="313"/>
                    </a:cubicBezTo>
                    <a:cubicBezTo>
                      <a:pt x="63" y="602"/>
                      <a:pt x="63" y="602"/>
                      <a:pt x="63" y="602"/>
                    </a:cubicBezTo>
                    <a:cubicBezTo>
                      <a:pt x="193" y="602"/>
                      <a:pt x="193" y="602"/>
                      <a:pt x="193" y="602"/>
                    </a:cubicBezTo>
                    <a:cubicBezTo>
                      <a:pt x="193" y="313"/>
                      <a:pt x="193" y="313"/>
                      <a:pt x="193" y="313"/>
                    </a:cubicBezTo>
                    <a:cubicBezTo>
                      <a:pt x="280" y="313"/>
                      <a:pt x="280" y="313"/>
                      <a:pt x="280" y="313"/>
                    </a:cubicBezTo>
                    <a:cubicBezTo>
                      <a:pt x="280" y="313"/>
                      <a:pt x="288" y="262"/>
                      <a:pt x="292" y="207"/>
                    </a:cubicBezTo>
                    <a:cubicBezTo>
                      <a:pt x="281" y="207"/>
                      <a:pt x="194" y="207"/>
                      <a:pt x="194" y="207"/>
                    </a:cubicBezTo>
                    <a:cubicBezTo>
                      <a:pt x="194" y="207"/>
                      <a:pt x="194" y="145"/>
                      <a:pt x="194" y="135"/>
                    </a:cubicBezTo>
                    <a:cubicBezTo>
                      <a:pt x="194" y="124"/>
                      <a:pt x="208" y="109"/>
                      <a:pt x="222" y="109"/>
                    </a:cubicBezTo>
                    <a:cubicBezTo>
                      <a:pt x="236" y="109"/>
                      <a:pt x="265" y="109"/>
                      <a:pt x="292" y="109"/>
                    </a:cubicBezTo>
                    <a:cubicBezTo>
                      <a:pt x="292" y="95"/>
                      <a:pt x="292" y="45"/>
                      <a:pt x="292" y="0"/>
                    </a:cubicBezTo>
                    <a:cubicBezTo>
                      <a:pt x="256" y="0"/>
                      <a:pt x="215" y="0"/>
                      <a:pt x="196" y="0"/>
                    </a:cubicBezTo>
                    <a:cubicBezTo>
                      <a:pt x="60" y="0"/>
                      <a:pt x="63" y="105"/>
                      <a:pt x="63" y="121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sp>
            <p:nvSpPr>
              <p:cNvPr id="91" name="Freeform 22">
                <a:extLst>
                  <a:ext uri="{FF2B5EF4-FFF2-40B4-BE49-F238E27FC236}">
                    <a16:creationId xmlns:a16="http://schemas.microsoft.com/office/drawing/2014/main" id="{B96849B6-C224-4317-AE9F-4EBF677E4F7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93313" y="2992836"/>
                <a:ext cx="511081" cy="415475"/>
              </a:xfrm>
              <a:custGeom>
                <a:avLst/>
                <a:gdLst>
                  <a:gd name="T0" fmla="*/ 649 w 649"/>
                  <a:gd name="T1" fmla="*/ 62 h 528"/>
                  <a:gd name="T2" fmla="*/ 572 w 649"/>
                  <a:gd name="T3" fmla="*/ 83 h 528"/>
                  <a:gd name="T4" fmla="*/ 631 w 649"/>
                  <a:gd name="T5" fmla="*/ 10 h 528"/>
                  <a:gd name="T6" fmla="*/ 546 w 649"/>
                  <a:gd name="T7" fmla="*/ 42 h 528"/>
                  <a:gd name="T8" fmla="*/ 449 w 649"/>
                  <a:gd name="T9" fmla="*/ 0 h 528"/>
                  <a:gd name="T10" fmla="*/ 316 w 649"/>
                  <a:gd name="T11" fmla="*/ 133 h 528"/>
                  <a:gd name="T12" fmla="*/ 319 w 649"/>
                  <a:gd name="T13" fmla="*/ 164 h 528"/>
                  <a:gd name="T14" fmla="*/ 45 w 649"/>
                  <a:gd name="T15" fmla="*/ 24 h 528"/>
                  <a:gd name="T16" fmla="*/ 27 w 649"/>
                  <a:gd name="T17" fmla="*/ 91 h 528"/>
                  <a:gd name="T18" fmla="*/ 86 w 649"/>
                  <a:gd name="T19" fmla="*/ 202 h 528"/>
                  <a:gd name="T20" fmla="*/ 26 w 649"/>
                  <a:gd name="T21" fmla="*/ 186 h 528"/>
                  <a:gd name="T22" fmla="*/ 26 w 649"/>
                  <a:gd name="T23" fmla="*/ 187 h 528"/>
                  <a:gd name="T24" fmla="*/ 133 w 649"/>
                  <a:gd name="T25" fmla="*/ 318 h 528"/>
                  <a:gd name="T26" fmla="*/ 98 w 649"/>
                  <a:gd name="T27" fmla="*/ 322 h 528"/>
                  <a:gd name="T28" fmla="*/ 73 w 649"/>
                  <a:gd name="T29" fmla="*/ 320 h 528"/>
                  <a:gd name="T30" fmla="*/ 197 w 649"/>
                  <a:gd name="T31" fmla="*/ 413 h 528"/>
                  <a:gd name="T32" fmla="*/ 32 w 649"/>
                  <a:gd name="T33" fmla="*/ 470 h 528"/>
                  <a:gd name="T34" fmla="*/ 0 w 649"/>
                  <a:gd name="T35" fmla="*/ 468 h 528"/>
                  <a:gd name="T36" fmla="*/ 204 w 649"/>
                  <a:gd name="T37" fmla="*/ 528 h 528"/>
                  <a:gd name="T38" fmla="*/ 583 w 649"/>
                  <a:gd name="T39" fmla="*/ 149 h 528"/>
                  <a:gd name="T40" fmla="*/ 582 w 649"/>
                  <a:gd name="T41" fmla="*/ 131 h 528"/>
                  <a:gd name="T42" fmla="*/ 649 w 649"/>
                  <a:gd name="T43" fmla="*/ 62 h 5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649" h="528">
                    <a:moveTo>
                      <a:pt x="649" y="62"/>
                    </a:moveTo>
                    <a:cubicBezTo>
                      <a:pt x="625" y="73"/>
                      <a:pt x="599" y="80"/>
                      <a:pt x="572" y="83"/>
                    </a:cubicBezTo>
                    <a:cubicBezTo>
                      <a:pt x="600" y="67"/>
                      <a:pt x="621" y="41"/>
                      <a:pt x="631" y="10"/>
                    </a:cubicBezTo>
                    <a:cubicBezTo>
                      <a:pt x="605" y="25"/>
                      <a:pt x="577" y="36"/>
                      <a:pt x="546" y="42"/>
                    </a:cubicBezTo>
                    <a:cubicBezTo>
                      <a:pt x="522" y="16"/>
                      <a:pt x="487" y="0"/>
                      <a:pt x="449" y="0"/>
                    </a:cubicBezTo>
                    <a:cubicBezTo>
                      <a:pt x="376" y="0"/>
                      <a:pt x="316" y="60"/>
                      <a:pt x="316" y="133"/>
                    </a:cubicBezTo>
                    <a:cubicBezTo>
                      <a:pt x="316" y="144"/>
                      <a:pt x="317" y="154"/>
                      <a:pt x="319" y="164"/>
                    </a:cubicBezTo>
                    <a:cubicBezTo>
                      <a:pt x="209" y="158"/>
                      <a:pt x="111" y="105"/>
                      <a:pt x="45" y="24"/>
                    </a:cubicBezTo>
                    <a:cubicBezTo>
                      <a:pt x="34" y="44"/>
                      <a:pt x="27" y="67"/>
                      <a:pt x="27" y="91"/>
                    </a:cubicBezTo>
                    <a:cubicBezTo>
                      <a:pt x="27" y="138"/>
                      <a:pt x="50" y="178"/>
                      <a:pt x="86" y="202"/>
                    </a:cubicBezTo>
                    <a:cubicBezTo>
                      <a:pt x="64" y="202"/>
                      <a:pt x="44" y="196"/>
                      <a:pt x="26" y="186"/>
                    </a:cubicBezTo>
                    <a:cubicBezTo>
                      <a:pt x="26" y="186"/>
                      <a:pt x="26" y="187"/>
                      <a:pt x="26" y="187"/>
                    </a:cubicBezTo>
                    <a:cubicBezTo>
                      <a:pt x="26" y="252"/>
                      <a:pt x="72" y="306"/>
                      <a:pt x="133" y="318"/>
                    </a:cubicBezTo>
                    <a:cubicBezTo>
                      <a:pt x="122" y="321"/>
                      <a:pt x="110" y="322"/>
                      <a:pt x="98" y="322"/>
                    </a:cubicBezTo>
                    <a:cubicBezTo>
                      <a:pt x="89" y="322"/>
                      <a:pt x="81" y="322"/>
                      <a:pt x="73" y="320"/>
                    </a:cubicBezTo>
                    <a:cubicBezTo>
                      <a:pt x="90" y="373"/>
                      <a:pt x="139" y="412"/>
                      <a:pt x="197" y="413"/>
                    </a:cubicBezTo>
                    <a:cubicBezTo>
                      <a:pt x="151" y="448"/>
                      <a:pt x="94" y="470"/>
                      <a:pt x="32" y="470"/>
                    </a:cubicBezTo>
                    <a:cubicBezTo>
                      <a:pt x="21" y="470"/>
                      <a:pt x="10" y="469"/>
                      <a:pt x="0" y="468"/>
                    </a:cubicBezTo>
                    <a:cubicBezTo>
                      <a:pt x="59" y="505"/>
                      <a:pt x="129" y="528"/>
                      <a:pt x="204" y="528"/>
                    </a:cubicBezTo>
                    <a:cubicBezTo>
                      <a:pt x="449" y="528"/>
                      <a:pt x="583" y="325"/>
                      <a:pt x="583" y="149"/>
                    </a:cubicBezTo>
                    <a:cubicBezTo>
                      <a:pt x="583" y="143"/>
                      <a:pt x="583" y="137"/>
                      <a:pt x="582" y="131"/>
                    </a:cubicBezTo>
                    <a:cubicBezTo>
                      <a:pt x="608" y="113"/>
                      <a:pt x="631" y="89"/>
                      <a:pt x="649" y="62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ea typeface="+mn-ea"/>
                </a:endParaRPr>
              </a:p>
            </p:txBody>
          </p:sp>
          <p:grpSp>
            <p:nvGrpSpPr>
              <p:cNvPr id="92" name="Group 228">
                <a:extLst>
                  <a:ext uri="{FF2B5EF4-FFF2-40B4-BE49-F238E27FC236}">
                    <a16:creationId xmlns:a16="http://schemas.microsoft.com/office/drawing/2014/main" id="{E5B4955C-B4EF-431D-A7EB-0333DFD4BF3E}"/>
                  </a:ext>
                </a:extLst>
              </p:cNvPr>
              <p:cNvGrpSpPr/>
              <p:nvPr/>
            </p:nvGrpSpPr>
            <p:grpSpPr bwMode="gray">
              <a:xfrm>
                <a:off x="7788713" y="3601041"/>
                <a:ext cx="304319" cy="364151"/>
                <a:chOff x="8969376" y="3729038"/>
                <a:chExt cx="1873250" cy="2241550"/>
              </a:xfrm>
              <a:grpFill/>
            </p:grpSpPr>
            <p:sp>
              <p:nvSpPr>
                <p:cNvPr id="97" name="Freeform 35">
                  <a:extLst>
                    <a:ext uri="{FF2B5EF4-FFF2-40B4-BE49-F238E27FC236}">
                      <a16:creationId xmlns:a16="http://schemas.microsoft.com/office/drawing/2014/main" id="{7727AE64-E31F-4739-84CA-D304A7A2ADEC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8969376" y="4713288"/>
                  <a:ext cx="1873250" cy="1257300"/>
                </a:xfrm>
                <a:custGeom>
                  <a:avLst/>
                  <a:gdLst>
                    <a:gd name="T0" fmla="*/ 294 w 589"/>
                    <a:gd name="T1" fmla="*/ 0 h 396"/>
                    <a:gd name="T2" fmla="*/ 284 w 589"/>
                    <a:gd name="T3" fmla="*/ 0 h 396"/>
                    <a:gd name="T4" fmla="*/ 89 w 589"/>
                    <a:gd name="T5" fmla="*/ 4 h 396"/>
                    <a:gd name="T6" fmla="*/ 4 w 589"/>
                    <a:gd name="T7" fmla="*/ 88 h 396"/>
                    <a:gd name="T8" fmla="*/ 0 w 589"/>
                    <a:gd name="T9" fmla="*/ 198 h 396"/>
                    <a:gd name="T10" fmla="*/ 4 w 589"/>
                    <a:gd name="T11" fmla="*/ 308 h 396"/>
                    <a:gd name="T12" fmla="*/ 89 w 589"/>
                    <a:gd name="T13" fmla="*/ 392 h 396"/>
                    <a:gd name="T14" fmla="*/ 294 w 589"/>
                    <a:gd name="T15" fmla="*/ 396 h 396"/>
                    <a:gd name="T16" fmla="*/ 500 w 589"/>
                    <a:gd name="T17" fmla="*/ 392 h 396"/>
                    <a:gd name="T18" fmla="*/ 585 w 589"/>
                    <a:gd name="T19" fmla="*/ 308 h 396"/>
                    <a:gd name="T20" fmla="*/ 589 w 589"/>
                    <a:gd name="T21" fmla="*/ 198 h 396"/>
                    <a:gd name="T22" fmla="*/ 585 w 589"/>
                    <a:gd name="T23" fmla="*/ 88 h 396"/>
                    <a:gd name="T24" fmla="*/ 500 w 589"/>
                    <a:gd name="T25" fmla="*/ 4 h 396"/>
                    <a:gd name="T26" fmla="*/ 305 w 589"/>
                    <a:gd name="T27" fmla="*/ 0 h 396"/>
                    <a:gd name="T28" fmla="*/ 294 w 589"/>
                    <a:gd name="T29" fmla="*/ 0 h 3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589" h="396">
                      <a:moveTo>
                        <a:pt x="294" y="0"/>
                      </a:moveTo>
                      <a:cubicBezTo>
                        <a:pt x="291" y="0"/>
                        <a:pt x="287" y="0"/>
                        <a:pt x="284" y="0"/>
                      </a:cubicBezTo>
                      <a:cubicBezTo>
                        <a:pt x="218" y="0"/>
                        <a:pt x="153" y="1"/>
                        <a:pt x="89" y="4"/>
                      </a:cubicBezTo>
                      <a:cubicBezTo>
                        <a:pt x="42" y="4"/>
                        <a:pt x="4" y="41"/>
                        <a:pt x="4" y="88"/>
                      </a:cubicBezTo>
                      <a:cubicBezTo>
                        <a:pt x="1" y="125"/>
                        <a:pt x="0" y="161"/>
                        <a:pt x="0" y="198"/>
                      </a:cubicBezTo>
                      <a:cubicBezTo>
                        <a:pt x="0" y="235"/>
                        <a:pt x="1" y="271"/>
                        <a:pt x="4" y="308"/>
                      </a:cubicBezTo>
                      <a:cubicBezTo>
                        <a:pt x="4" y="355"/>
                        <a:pt x="42" y="392"/>
                        <a:pt x="89" y="392"/>
                      </a:cubicBezTo>
                      <a:cubicBezTo>
                        <a:pt x="156" y="395"/>
                        <a:pt x="224" y="396"/>
                        <a:pt x="294" y="396"/>
                      </a:cubicBezTo>
                      <a:cubicBezTo>
                        <a:pt x="364" y="396"/>
                        <a:pt x="433" y="395"/>
                        <a:pt x="500" y="392"/>
                      </a:cubicBezTo>
                      <a:cubicBezTo>
                        <a:pt x="547" y="392"/>
                        <a:pt x="585" y="355"/>
                        <a:pt x="585" y="308"/>
                      </a:cubicBezTo>
                      <a:cubicBezTo>
                        <a:pt x="587" y="271"/>
                        <a:pt x="589" y="235"/>
                        <a:pt x="589" y="198"/>
                      </a:cubicBezTo>
                      <a:cubicBezTo>
                        <a:pt x="589" y="161"/>
                        <a:pt x="587" y="125"/>
                        <a:pt x="585" y="88"/>
                      </a:cubicBezTo>
                      <a:cubicBezTo>
                        <a:pt x="585" y="41"/>
                        <a:pt x="547" y="4"/>
                        <a:pt x="500" y="4"/>
                      </a:cubicBezTo>
                      <a:cubicBezTo>
                        <a:pt x="436" y="1"/>
                        <a:pt x="371" y="0"/>
                        <a:pt x="305" y="0"/>
                      </a:cubicBezTo>
                      <a:cubicBezTo>
                        <a:pt x="301" y="0"/>
                        <a:pt x="298" y="0"/>
                        <a:pt x="294" y="0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98" name="Freeform 37">
                  <a:extLst>
                    <a:ext uri="{FF2B5EF4-FFF2-40B4-BE49-F238E27FC236}">
                      <a16:creationId xmlns:a16="http://schemas.microsoft.com/office/drawing/2014/main" id="{37FFF3AB-E75B-4C4E-B263-871B9487B333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9256713" y="3729038"/>
                  <a:ext cx="428625" cy="828675"/>
                </a:xfrm>
                <a:custGeom>
                  <a:avLst/>
                  <a:gdLst>
                    <a:gd name="T0" fmla="*/ 188 w 270"/>
                    <a:gd name="T1" fmla="*/ 0 h 522"/>
                    <a:gd name="T2" fmla="*/ 138 w 270"/>
                    <a:gd name="T3" fmla="*/ 208 h 522"/>
                    <a:gd name="T4" fmla="*/ 134 w 270"/>
                    <a:gd name="T5" fmla="*/ 208 h 522"/>
                    <a:gd name="T6" fmla="*/ 80 w 270"/>
                    <a:gd name="T7" fmla="*/ 0 h 522"/>
                    <a:gd name="T8" fmla="*/ 0 w 270"/>
                    <a:gd name="T9" fmla="*/ 0 h 522"/>
                    <a:gd name="T10" fmla="*/ 96 w 270"/>
                    <a:gd name="T11" fmla="*/ 314 h 522"/>
                    <a:gd name="T12" fmla="*/ 96 w 270"/>
                    <a:gd name="T13" fmla="*/ 522 h 522"/>
                    <a:gd name="T14" fmla="*/ 176 w 270"/>
                    <a:gd name="T15" fmla="*/ 522 h 522"/>
                    <a:gd name="T16" fmla="*/ 176 w 270"/>
                    <a:gd name="T17" fmla="*/ 304 h 522"/>
                    <a:gd name="T18" fmla="*/ 270 w 270"/>
                    <a:gd name="T19" fmla="*/ 0 h 522"/>
                    <a:gd name="T20" fmla="*/ 188 w 270"/>
                    <a:gd name="T21" fmla="*/ 0 h 5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270" h="522">
                      <a:moveTo>
                        <a:pt x="188" y="0"/>
                      </a:moveTo>
                      <a:lnTo>
                        <a:pt x="138" y="208"/>
                      </a:lnTo>
                      <a:lnTo>
                        <a:pt x="134" y="208"/>
                      </a:lnTo>
                      <a:lnTo>
                        <a:pt x="80" y="0"/>
                      </a:lnTo>
                      <a:lnTo>
                        <a:pt x="0" y="0"/>
                      </a:lnTo>
                      <a:lnTo>
                        <a:pt x="96" y="314"/>
                      </a:lnTo>
                      <a:lnTo>
                        <a:pt x="96" y="522"/>
                      </a:lnTo>
                      <a:lnTo>
                        <a:pt x="176" y="522"/>
                      </a:lnTo>
                      <a:lnTo>
                        <a:pt x="176" y="304"/>
                      </a:lnTo>
                      <a:lnTo>
                        <a:pt x="270" y="0"/>
                      </a:lnTo>
                      <a:lnTo>
                        <a:pt x="188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99" name="Freeform 39">
                  <a:extLst>
                    <a:ext uri="{FF2B5EF4-FFF2-40B4-BE49-F238E27FC236}">
                      <a16:creationId xmlns:a16="http://schemas.microsoft.com/office/drawing/2014/main" id="{8EB5C5B7-4CE6-42E7-813F-D569F6AA236F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678988" y="3932238"/>
                  <a:ext cx="330200" cy="638175"/>
                </a:xfrm>
                <a:custGeom>
                  <a:avLst/>
                  <a:gdLst>
                    <a:gd name="T0" fmla="*/ 41 w 104"/>
                    <a:gd name="T1" fmla="*/ 164 h 201"/>
                    <a:gd name="T2" fmla="*/ 37 w 104"/>
                    <a:gd name="T3" fmla="*/ 152 h 201"/>
                    <a:gd name="T4" fmla="*/ 37 w 104"/>
                    <a:gd name="T5" fmla="*/ 47 h 201"/>
                    <a:gd name="T6" fmla="*/ 41 w 104"/>
                    <a:gd name="T7" fmla="*/ 37 h 201"/>
                    <a:gd name="T8" fmla="*/ 51 w 104"/>
                    <a:gd name="T9" fmla="*/ 33 h 201"/>
                    <a:gd name="T10" fmla="*/ 63 w 104"/>
                    <a:gd name="T11" fmla="*/ 37 h 201"/>
                    <a:gd name="T12" fmla="*/ 67 w 104"/>
                    <a:gd name="T13" fmla="*/ 47 h 201"/>
                    <a:gd name="T14" fmla="*/ 67 w 104"/>
                    <a:gd name="T15" fmla="*/ 152 h 201"/>
                    <a:gd name="T16" fmla="*/ 63 w 104"/>
                    <a:gd name="T17" fmla="*/ 164 h 201"/>
                    <a:gd name="T18" fmla="*/ 51 w 104"/>
                    <a:gd name="T19" fmla="*/ 168 h 201"/>
                    <a:gd name="T20" fmla="*/ 41 w 104"/>
                    <a:gd name="T21" fmla="*/ 164 h 201"/>
                    <a:gd name="T22" fmla="*/ 14 w 104"/>
                    <a:gd name="T23" fmla="*/ 13 h 201"/>
                    <a:gd name="T24" fmla="*/ 0 w 104"/>
                    <a:gd name="T25" fmla="*/ 48 h 201"/>
                    <a:gd name="T26" fmla="*/ 0 w 104"/>
                    <a:gd name="T27" fmla="*/ 148 h 201"/>
                    <a:gd name="T28" fmla="*/ 14 w 104"/>
                    <a:gd name="T29" fmla="*/ 187 h 201"/>
                    <a:gd name="T30" fmla="*/ 52 w 104"/>
                    <a:gd name="T31" fmla="*/ 201 h 201"/>
                    <a:gd name="T32" fmla="*/ 90 w 104"/>
                    <a:gd name="T33" fmla="*/ 187 h 201"/>
                    <a:gd name="T34" fmla="*/ 104 w 104"/>
                    <a:gd name="T35" fmla="*/ 149 h 201"/>
                    <a:gd name="T36" fmla="*/ 104 w 104"/>
                    <a:gd name="T37" fmla="*/ 49 h 201"/>
                    <a:gd name="T38" fmla="*/ 90 w 104"/>
                    <a:gd name="T39" fmla="*/ 14 h 201"/>
                    <a:gd name="T40" fmla="*/ 53 w 104"/>
                    <a:gd name="T41" fmla="*/ 0 h 201"/>
                    <a:gd name="T42" fmla="*/ 14 w 104"/>
                    <a:gd name="T43" fmla="*/ 13 h 2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104" h="201">
                      <a:moveTo>
                        <a:pt x="41" y="164"/>
                      </a:moveTo>
                      <a:cubicBezTo>
                        <a:pt x="38" y="161"/>
                        <a:pt x="37" y="157"/>
                        <a:pt x="37" y="152"/>
                      </a:cubicBezTo>
                      <a:cubicBezTo>
                        <a:pt x="37" y="47"/>
                        <a:pt x="37" y="47"/>
                        <a:pt x="37" y="47"/>
                      </a:cubicBezTo>
                      <a:cubicBezTo>
                        <a:pt x="37" y="43"/>
                        <a:pt x="38" y="39"/>
                        <a:pt x="41" y="37"/>
                      </a:cubicBezTo>
                      <a:cubicBezTo>
                        <a:pt x="44" y="34"/>
                        <a:pt x="47" y="33"/>
                        <a:pt x="51" y="33"/>
                      </a:cubicBezTo>
                      <a:cubicBezTo>
                        <a:pt x="56" y="33"/>
                        <a:pt x="60" y="34"/>
                        <a:pt x="63" y="37"/>
                      </a:cubicBezTo>
                      <a:cubicBezTo>
                        <a:pt x="66" y="39"/>
                        <a:pt x="67" y="43"/>
                        <a:pt x="67" y="47"/>
                      </a:cubicBezTo>
                      <a:cubicBezTo>
                        <a:pt x="67" y="152"/>
                        <a:pt x="67" y="152"/>
                        <a:pt x="67" y="152"/>
                      </a:cubicBezTo>
                      <a:cubicBezTo>
                        <a:pt x="67" y="157"/>
                        <a:pt x="66" y="161"/>
                        <a:pt x="63" y="164"/>
                      </a:cubicBezTo>
                      <a:cubicBezTo>
                        <a:pt x="60" y="167"/>
                        <a:pt x="56" y="168"/>
                        <a:pt x="51" y="168"/>
                      </a:cubicBezTo>
                      <a:cubicBezTo>
                        <a:pt x="47" y="168"/>
                        <a:pt x="43" y="167"/>
                        <a:pt x="41" y="164"/>
                      </a:cubicBezTo>
                      <a:moveTo>
                        <a:pt x="14" y="13"/>
                      </a:moveTo>
                      <a:cubicBezTo>
                        <a:pt x="5" y="22"/>
                        <a:pt x="0" y="33"/>
                        <a:pt x="0" y="48"/>
                      </a:cubicBezTo>
                      <a:cubicBezTo>
                        <a:pt x="0" y="148"/>
                        <a:pt x="0" y="148"/>
                        <a:pt x="0" y="148"/>
                      </a:cubicBezTo>
                      <a:cubicBezTo>
                        <a:pt x="0" y="164"/>
                        <a:pt x="5" y="177"/>
                        <a:pt x="14" y="187"/>
                      </a:cubicBezTo>
                      <a:cubicBezTo>
                        <a:pt x="23" y="197"/>
                        <a:pt x="36" y="201"/>
                        <a:pt x="52" y="201"/>
                      </a:cubicBezTo>
                      <a:cubicBezTo>
                        <a:pt x="68" y="201"/>
                        <a:pt x="81" y="197"/>
                        <a:pt x="90" y="187"/>
                      </a:cubicBezTo>
                      <a:cubicBezTo>
                        <a:pt x="99" y="178"/>
                        <a:pt x="104" y="165"/>
                        <a:pt x="104" y="149"/>
                      </a:cubicBezTo>
                      <a:cubicBezTo>
                        <a:pt x="104" y="49"/>
                        <a:pt x="104" y="49"/>
                        <a:pt x="104" y="49"/>
                      </a:cubicBezTo>
                      <a:cubicBezTo>
                        <a:pt x="104" y="35"/>
                        <a:pt x="99" y="23"/>
                        <a:pt x="90" y="14"/>
                      </a:cubicBezTo>
                      <a:cubicBezTo>
                        <a:pt x="80" y="4"/>
                        <a:pt x="68" y="0"/>
                        <a:pt x="53" y="0"/>
                      </a:cubicBezTo>
                      <a:cubicBezTo>
                        <a:pt x="37" y="0"/>
                        <a:pt x="24" y="4"/>
                        <a:pt x="14" y="13"/>
                      </a:cubicBez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0" name="Freeform 41">
                  <a:extLst>
                    <a:ext uri="{FF2B5EF4-FFF2-40B4-BE49-F238E27FC236}">
                      <a16:creationId xmlns:a16="http://schemas.microsoft.com/office/drawing/2014/main" id="{DC98CB85-09DC-4F39-BF9B-93C53C57F3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0104438" y="3944938"/>
                  <a:ext cx="323850" cy="619125"/>
                </a:xfrm>
                <a:custGeom>
                  <a:avLst/>
                  <a:gdLst>
                    <a:gd name="T0" fmla="*/ 66 w 102"/>
                    <a:gd name="T1" fmla="*/ 0 h 195"/>
                    <a:gd name="T2" fmla="*/ 66 w 102"/>
                    <a:gd name="T3" fmla="*/ 146 h 195"/>
                    <a:gd name="T4" fmla="*/ 55 w 102"/>
                    <a:gd name="T5" fmla="*/ 157 h 195"/>
                    <a:gd name="T6" fmla="*/ 45 w 102"/>
                    <a:gd name="T7" fmla="*/ 161 h 195"/>
                    <a:gd name="T8" fmla="*/ 38 w 102"/>
                    <a:gd name="T9" fmla="*/ 158 h 195"/>
                    <a:gd name="T10" fmla="*/ 36 w 102"/>
                    <a:gd name="T11" fmla="*/ 148 h 195"/>
                    <a:gd name="T12" fmla="*/ 36 w 102"/>
                    <a:gd name="T13" fmla="*/ 0 h 195"/>
                    <a:gd name="T14" fmla="*/ 0 w 102"/>
                    <a:gd name="T15" fmla="*/ 0 h 195"/>
                    <a:gd name="T16" fmla="*/ 0 w 102"/>
                    <a:gd name="T17" fmla="*/ 161 h 195"/>
                    <a:gd name="T18" fmla="*/ 6 w 102"/>
                    <a:gd name="T19" fmla="*/ 187 h 195"/>
                    <a:gd name="T20" fmla="*/ 25 w 102"/>
                    <a:gd name="T21" fmla="*/ 195 h 195"/>
                    <a:gd name="T22" fmla="*/ 46 w 102"/>
                    <a:gd name="T23" fmla="*/ 189 h 195"/>
                    <a:gd name="T24" fmla="*/ 66 w 102"/>
                    <a:gd name="T25" fmla="*/ 171 h 195"/>
                    <a:gd name="T26" fmla="*/ 66 w 102"/>
                    <a:gd name="T27" fmla="*/ 193 h 195"/>
                    <a:gd name="T28" fmla="*/ 102 w 102"/>
                    <a:gd name="T29" fmla="*/ 193 h 195"/>
                    <a:gd name="T30" fmla="*/ 102 w 102"/>
                    <a:gd name="T31" fmla="*/ 0 h 195"/>
                    <a:gd name="T32" fmla="*/ 66 w 102"/>
                    <a:gd name="T33" fmla="*/ 0 h 1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102" h="195">
                      <a:moveTo>
                        <a:pt x="66" y="0"/>
                      </a:moveTo>
                      <a:cubicBezTo>
                        <a:pt x="66" y="146"/>
                        <a:pt x="66" y="146"/>
                        <a:pt x="66" y="146"/>
                      </a:cubicBezTo>
                      <a:cubicBezTo>
                        <a:pt x="63" y="150"/>
                        <a:pt x="59" y="154"/>
                        <a:pt x="55" y="157"/>
                      </a:cubicBezTo>
                      <a:cubicBezTo>
                        <a:pt x="51" y="159"/>
                        <a:pt x="48" y="161"/>
                        <a:pt x="45" y="161"/>
                      </a:cubicBezTo>
                      <a:cubicBezTo>
                        <a:pt x="42" y="161"/>
                        <a:pt x="39" y="160"/>
                        <a:pt x="38" y="158"/>
                      </a:cubicBezTo>
                      <a:cubicBezTo>
                        <a:pt x="36" y="156"/>
                        <a:pt x="36" y="152"/>
                        <a:pt x="36" y="148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61"/>
                        <a:pt x="0" y="161"/>
                        <a:pt x="0" y="161"/>
                      </a:cubicBezTo>
                      <a:cubicBezTo>
                        <a:pt x="0" y="172"/>
                        <a:pt x="2" y="181"/>
                        <a:pt x="6" y="187"/>
                      </a:cubicBezTo>
                      <a:cubicBezTo>
                        <a:pt x="10" y="192"/>
                        <a:pt x="17" y="195"/>
                        <a:pt x="25" y="195"/>
                      </a:cubicBezTo>
                      <a:cubicBezTo>
                        <a:pt x="32" y="195"/>
                        <a:pt x="39" y="193"/>
                        <a:pt x="46" y="189"/>
                      </a:cubicBezTo>
                      <a:cubicBezTo>
                        <a:pt x="53" y="185"/>
                        <a:pt x="60" y="179"/>
                        <a:pt x="66" y="171"/>
                      </a:cubicBezTo>
                      <a:cubicBezTo>
                        <a:pt x="66" y="193"/>
                        <a:pt x="66" y="193"/>
                        <a:pt x="66" y="193"/>
                      </a:cubicBezTo>
                      <a:cubicBezTo>
                        <a:pt x="102" y="193"/>
                        <a:pt x="102" y="193"/>
                        <a:pt x="102" y="193"/>
                      </a:cubicBezTo>
                      <a:cubicBezTo>
                        <a:pt x="102" y="0"/>
                        <a:pt x="102" y="0"/>
                        <a:pt x="102" y="0"/>
                      </a:cubicBezTo>
                      <a:lnTo>
                        <a:pt x="6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  <p:sp>
              <p:nvSpPr>
                <p:cNvPr id="101" name="Freeform 43">
                  <a:extLst>
                    <a:ext uri="{FF2B5EF4-FFF2-40B4-BE49-F238E27FC236}">
                      <a16:creationId xmlns:a16="http://schemas.microsoft.com/office/drawing/2014/main" id="{47B26988-F414-46B8-87CA-65F6438ACCB1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9115426" y="4916488"/>
                  <a:ext cx="1571625" cy="844550"/>
                </a:xfrm>
                <a:custGeom>
                  <a:avLst/>
                  <a:gdLst>
                    <a:gd name="T0" fmla="*/ 0 w 494"/>
                    <a:gd name="T1" fmla="*/ 0 h 266"/>
                    <a:gd name="T2" fmla="*/ 41 w 494"/>
                    <a:gd name="T3" fmla="*/ 38 h 266"/>
                    <a:gd name="T4" fmla="*/ 81 w 494"/>
                    <a:gd name="T5" fmla="*/ 260 h 266"/>
                    <a:gd name="T6" fmla="*/ 123 w 494"/>
                    <a:gd name="T7" fmla="*/ 38 h 266"/>
                    <a:gd name="T8" fmla="*/ 189 w 494"/>
                    <a:gd name="T9" fmla="*/ 214 h 266"/>
                    <a:gd name="T10" fmla="*/ 168 w 494"/>
                    <a:gd name="T11" fmla="*/ 229 h 266"/>
                    <a:gd name="T12" fmla="*/ 158 w 494"/>
                    <a:gd name="T13" fmla="*/ 216 h 266"/>
                    <a:gd name="T14" fmla="*/ 123 w 494"/>
                    <a:gd name="T15" fmla="*/ 68 h 266"/>
                    <a:gd name="T16" fmla="*/ 129 w 494"/>
                    <a:gd name="T17" fmla="*/ 255 h 266"/>
                    <a:gd name="T18" fmla="*/ 168 w 494"/>
                    <a:gd name="T19" fmla="*/ 257 h 266"/>
                    <a:gd name="T20" fmla="*/ 189 w 494"/>
                    <a:gd name="T21" fmla="*/ 260 h 266"/>
                    <a:gd name="T22" fmla="*/ 224 w 494"/>
                    <a:gd name="T23" fmla="*/ 68 h 266"/>
                    <a:gd name="T24" fmla="*/ 189 w 494"/>
                    <a:gd name="T25" fmla="*/ 214 h 266"/>
                    <a:gd name="T26" fmla="*/ 311 w 494"/>
                    <a:gd name="T27" fmla="*/ 71 h 266"/>
                    <a:gd name="T28" fmla="*/ 295 w 494"/>
                    <a:gd name="T29" fmla="*/ 0 h 266"/>
                    <a:gd name="T30" fmla="*/ 259 w 494"/>
                    <a:gd name="T31" fmla="*/ 260 h 266"/>
                    <a:gd name="T32" fmla="*/ 295 w 494"/>
                    <a:gd name="T33" fmla="*/ 246 h 266"/>
                    <a:gd name="T34" fmla="*/ 329 w 494"/>
                    <a:gd name="T35" fmla="*/ 263 h 266"/>
                    <a:gd name="T36" fmla="*/ 362 w 494"/>
                    <a:gd name="T37" fmla="*/ 221 h 266"/>
                    <a:gd name="T38" fmla="*/ 353 w 494"/>
                    <a:gd name="T39" fmla="*/ 78 h 266"/>
                    <a:gd name="T40" fmla="*/ 325 w 494"/>
                    <a:gd name="T41" fmla="*/ 215 h 266"/>
                    <a:gd name="T42" fmla="*/ 312 w 494"/>
                    <a:gd name="T43" fmla="*/ 233 h 266"/>
                    <a:gd name="T44" fmla="*/ 295 w 494"/>
                    <a:gd name="T45" fmla="*/ 224 h 266"/>
                    <a:gd name="T46" fmla="*/ 303 w 494"/>
                    <a:gd name="T47" fmla="*/ 98 h 266"/>
                    <a:gd name="T48" fmla="*/ 321 w 494"/>
                    <a:gd name="T49" fmla="*/ 101 h 266"/>
                    <a:gd name="T50" fmla="*/ 325 w 494"/>
                    <a:gd name="T51" fmla="*/ 215 h 266"/>
                    <a:gd name="T52" fmla="*/ 494 w 494"/>
                    <a:gd name="T53" fmla="*/ 120 h 266"/>
                    <a:gd name="T54" fmla="*/ 443 w 494"/>
                    <a:gd name="T55" fmla="*/ 64 h 266"/>
                    <a:gd name="T56" fmla="*/ 389 w 494"/>
                    <a:gd name="T57" fmla="*/ 120 h 266"/>
                    <a:gd name="T58" fmla="*/ 403 w 494"/>
                    <a:gd name="T59" fmla="*/ 250 h 266"/>
                    <a:gd name="T60" fmla="*/ 481 w 494"/>
                    <a:gd name="T61" fmla="*/ 251 h 266"/>
                    <a:gd name="T62" fmla="*/ 494 w 494"/>
                    <a:gd name="T63" fmla="*/ 192 h 266"/>
                    <a:gd name="T64" fmla="*/ 457 w 494"/>
                    <a:gd name="T65" fmla="*/ 205 h 266"/>
                    <a:gd name="T66" fmla="*/ 441 w 494"/>
                    <a:gd name="T67" fmla="*/ 232 h 266"/>
                    <a:gd name="T68" fmla="*/ 426 w 494"/>
                    <a:gd name="T69" fmla="*/ 205 h 266"/>
                    <a:gd name="T70" fmla="*/ 494 w 494"/>
                    <a:gd name="T71" fmla="*/ 169 h 266"/>
                    <a:gd name="T72" fmla="*/ 429 w 494"/>
                    <a:gd name="T73" fmla="*/ 102 h 266"/>
                    <a:gd name="T74" fmla="*/ 453 w 494"/>
                    <a:gd name="T75" fmla="*/ 102 h 266"/>
                    <a:gd name="T76" fmla="*/ 457 w 494"/>
                    <a:gd name="T77" fmla="*/ 139 h 266"/>
                    <a:gd name="T78" fmla="*/ 426 w 494"/>
                    <a:gd name="T79" fmla="*/ 120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</a:cxnLst>
                  <a:rect l="0" t="0" r="r" b="b"/>
                  <a:pathLst>
                    <a:path w="494" h="266">
                      <a:moveTo>
                        <a:pt x="12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38"/>
                        <a:pt x="0" y="38"/>
                        <a:pt x="0" y="38"/>
                      </a:cubicBezTo>
                      <a:cubicBezTo>
                        <a:pt x="41" y="38"/>
                        <a:pt x="41" y="38"/>
                        <a:pt x="41" y="38"/>
                      </a:cubicBezTo>
                      <a:cubicBezTo>
                        <a:pt x="41" y="260"/>
                        <a:pt x="41" y="260"/>
                        <a:pt x="41" y="260"/>
                      </a:cubicBezTo>
                      <a:cubicBezTo>
                        <a:pt x="81" y="260"/>
                        <a:pt x="81" y="260"/>
                        <a:pt x="81" y="260"/>
                      </a:cubicBezTo>
                      <a:cubicBezTo>
                        <a:pt x="81" y="38"/>
                        <a:pt x="81" y="38"/>
                        <a:pt x="81" y="38"/>
                      </a:cubicBezTo>
                      <a:cubicBezTo>
                        <a:pt x="123" y="38"/>
                        <a:pt x="123" y="38"/>
                        <a:pt x="123" y="38"/>
                      </a:cubicBezTo>
                      <a:lnTo>
                        <a:pt x="123" y="0"/>
                      </a:lnTo>
                      <a:close/>
                      <a:moveTo>
                        <a:pt x="189" y="214"/>
                      </a:moveTo>
                      <a:cubicBezTo>
                        <a:pt x="185" y="218"/>
                        <a:pt x="182" y="222"/>
                        <a:pt x="178" y="225"/>
                      </a:cubicBezTo>
                      <a:cubicBezTo>
                        <a:pt x="174" y="227"/>
                        <a:pt x="170" y="229"/>
                        <a:pt x="168" y="229"/>
                      </a:cubicBezTo>
                      <a:cubicBezTo>
                        <a:pt x="164" y="229"/>
                        <a:pt x="162" y="228"/>
                        <a:pt x="161" y="225"/>
                      </a:cubicBezTo>
                      <a:cubicBezTo>
                        <a:pt x="159" y="223"/>
                        <a:pt x="158" y="220"/>
                        <a:pt x="158" y="216"/>
                      </a:cubicBezTo>
                      <a:cubicBezTo>
                        <a:pt x="158" y="68"/>
                        <a:pt x="158" y="68"/>
                        <a:pt x="158" y="68"/>
                      </a:cubicBezTo>
                      <a:cubicBezTo>
                        <a:pt x="123" y="68"/>
                        <a:pt x="123" y="68"/>
                        <a:pt x="123" y="68"/>
                      </a:cubicBezTo>
                      <a:cubicBezTo>
                        <a:pt x="123" y="229"/>
                        <a:pt x="123" y="229"/>
                        <a:pt x="123" y="229"/>
                      </a:cubicBezTo>
                      <a:cubicBezTo>
                        <a:pt x="123" y="240"/>
                        <a:pt x="125" y="249"/>
                        <a:pt x="129" y="255"/>
                      </a:cubicBezTo>
                      <a:cubicBezTo>
                        <a:pt x="133" y="260"/>
                        <a:pt x="139" y="263"/>
                        <a:pt x="147" y="263"/>
                      </a:cubicBezTo>
                      <a:cubicBezTo>
                        <a:pt x="154" y="263"/>
                        <a:pt x="161" y="261"/>
                        <a:pt x="168" y="257"/>
                      </a:cubicBezTo>
                      <a:cubicBezTo>
                        <a:pt x="175" y="253"/>
                        <a:pt x="182" y="247"/>
                        <a:pt x="189" y="239"/>
                      </a:cubicBezTo>
                      <a:cubicBezTo>
                        <a:pt x="189" y="260"/>
                        <a:pt x="189" y="260"/>
                        <a:pt x="189" y="260"/>
                      </a:cubicBezTo>
                      <a:cubicBezTo>
                        <a:pt x="224" y="260"/>
                        <a:pt x="224" y="260"/>
                        <a:pt x="224" y="260"/>
                      </a:cubicBezTo>
                      <a:cubicBezTo>
                        <a:pt x="224" y="68"/>
                        <a:pt x="224" y="68"/>
                        <a:pt x="224" y="68"/>
                      </a:cubicBezTo>
                      <a:cubicBezTo>
                        <a:pt x="189" y="68"/>
                        <a:pt x="189" y="68"/>
                        <a:pt x="189" y="68"/>
                      </a:cubicBezTo>
                      <a:lnTo>
                        <a:pt x="189" y="214"/>
                      </a:lnTo>
                      <a:close/>
                      <a:moveTo>
                        <a:pt x="327" y="66"/>
                      </a:moveTo>
                      <a:cubicBezTo>
                        <a:pt x="322" y="66"/>
                        <a:pt x="316" y="67"/>
                        <a:pt x="311" y="71"/>
                      </a:cubicBezTo>
                      <a:cubicBezTo>
                        <a:pt x="305" y="74"/>
                        <a:pt x="300" y="78"/>
                        <a:pt x="295" y="84"/>
                      </a:cubicBezTo>
                      <a:cubicBezTo>
                        <a:pt x="295" y="0"/>
                        <a:pt x="295" y="0"/>
                        <a:pt x="295" y="0"/>
                      </a:cubicBezTo>
                      <a:cubicBezTo>
                        <a:pt x="259" y="0"/>
                        <a:pt x="259" y="0"/>
                        <a:pt x="259" y="0"/>
                      </a:cubicBezTo>
                      <a:cubicBezTo>
                        <a:pt x="259" y="260"/>
                        <a:pt x="259" y="260"/>
                        <a:pt x="259" y="260"/>
                      </a:cubicBezTo>
                      <a:cubicBezTo>
                        <a:pt x="295" y="260"/>
                        <a:pt x="295" y="260"/>
                        <a:pt x="295" y="260"/>
                      </a:cubicBezTo>
                      <a:cubicBezTo>
                        <a:pt x="295" y="246"/>
                        <a:pt x="295" y="246"/>
                        <a:pt x="295" y="246"/>
                      </a:cubicBezTo>
                      <a:cubicBezTo>
                        <a:pt x="300" y="252"/>
                        <a:pt x="305" y="256"/>
                        <a:pt x="311" y="259"/>
                      </a:cubicBezTo>
                      <a:cubicBezTo>
                        <a:pt x="316" y="261"/>
                        <a:pt x="322" y="263"/>
                        <a:pt x="329" y="263"/>
                      </a:cubicBezTo>
                      <a:cubicBezTo>
                        <a:pt x="340" y="263"/>
                        <a:pt x="348" y="259"/>
                        <a:pt x="354" y="252"/>
                      </a:cubicBezTo>
                      <a:cubicBezTo>
                        <a:pt x="359" y="245"/>
                        <a:pt x="362" y="234"/>
                        <a:pt x="362" y="221"/>
                      </a:cubicBezTo>
                      <a:cubicBezTo>
                        <a:pt x="362" y="114"/>
                        <a:pt x="362" y="114"/>
                        <a:pt x="362" y="114"/>
                      </a:cubicBezTo>
                      <a:cubicBezTo>
                        <a:pt x="362" y="98"/>
                        <a:pt x="359" y="86"/>
                        <a:pt x="353" y="78"/>
                      </a:cubicBezTo>
                      <a:cubicBezTo>
                        <a:pt x="347" y="70"/>
                        <a:pt x="338" y="66"/>
                        <a:pt x="327" y="66"/>
                      </a:cubicBezTo>
                      <a:moveTo>
                        <a:pt x="325" y="215"/>
                      </a:moveTo>
                      <a:cubicBezTo>
                        <a:pt x="325" y="222"/>
                        <a:pt x="324" y="226"/>
                        <a:pt x="322" y="229"/>
                      </a:cubicBezTo>
                      <a:cubicBezTo>
                        <a:pt x="320" y="231"/>
                        <a:pt x="317" y="233"/>
                        <a:pt x="312" y="233"/>
                      </a:cubicBezTo>
                      <a:cubicBezTo>
                        <a:pt x="309" y="233"/>
                        <a:pt x="307" y="232"/>
                        <a:pt x="304" y="231"/>
                      </a:cubicBezTo>
                      <a:cubicBezTo>
                        <a:pt x="301" y="229"/>
                        <a:pt x="298" y="227"/>
                        <a:pt x="295" y="224"/>
                      </a:cubicBezTo>
                      <a:cubicBezTo>
                        <a:pt x="295" y="104"/>
                        <a:pt x="295" y="104"/>
                        <a:pt x="295" y="104"/>
                      </a:cubicBezTo>
                      <a:cubicBezTo>
                        <a:pt x="298" y="102"/>
                        <a:pt x="300" y="100"/>
                        <a:pt x="303" y="98"/>
                      </a:cubicBezTo>
                      <a:cubicBezTo>
                        <a:pt x="305" y="97"/>
                        <a:pt x="308" y="96"/>
                        <a:pt x="310" y="96"/>
                      </a:cubicBezTo>
                      <a:cubicBezTo>
                        <a:pt x="315" y="96"/>
                        <a:pt x="319" y="98"/>
                        <a:pt x="321" y="101"/>
                      </a:cubicBezTo>
                      <a:cubicBezTo>
                        <a:pt x="324" y="105"/>
                        <a:pt x="325" y="110"/>
                        <a:pt x="325" y="116"/>
                      </a:cubicBezTo>
                      <a:lnTo>
                        <a:pt x="325" y="215"/>
                      </a:lnTo>
                      <a:close/>
                      <a:moveTo>
                        <a:pt x="494" y="169"/>
                      </a:moveTo>
                      <a:cubicBezTo>
                        <a:pt x="494" y="120"/>
                        <a:pt x="494" y="120"/>
                        <a:pt x="494" y="120"/>
                      </a:cubicBezTo>
                      <a:cubicBezTo>
                        <a:pt x="494" y="102"/>
                        <a:pt x="490" y="88"/>
                        <a:pt x="481" y="78"/>
                      </a:cubicBezTo>
                      <a:cubicBezTo>
                        <a:pt x="472" y="68"/>
                        <a:pt x="459" y="64"/>
                        <a:pt x="443" y="64"/>
                      </a:cubicBezTo>
                      <a:cubicBezTo>
                        <a:pt x="427" y="64"/>
                        <a:pt x="414" y="69"/>
                        <a:pt x="404" y="79"/>
                      </a:cubicBezTo>
                      <a:cubicBezTo>
                        <a:pt x="394" y="90"/>
                        <a:pt x="389" y="103"/>
                        <a:pt x="389" y="120"/>
                      </a:cubicBezTo>
                      <a:cubicBezTo>
                        <a:pt x="389" y="206"/>
                        <a:pt x="389" y="206"/>
                        <a:pt x="389" y="206"/>
                      </a:cubicBezTo>
                      <a:cubicBezTo>
                        <a:pt x="389" y="225"/>
                        <a:pt x="393" y="239"/>
                        <a:pt x="403" y="250"/>
                      </a:cubicBezTo>
                      <a:cubicBezTo>
                        <a:pt x="412" y="260"/>
                        <a:pt x="424" y="266"/>
                        <a:pt x="440" y="266"/>
                      </a:cubicBezTo>
                      <a:cubicBezTo>
                        <a:pt x="458" y="266"/>
                        <a:pt x="472" y="261"/>
                        <a:pt x="481" y="251"/>
                      </a:cubicBezTo>
                      <a:cubicBezTo>
                        <a:pt x="489" y="241"/>
                        <a:pt x="494" y="226"/>
                        <a:pt x="494" y="206"/>
                      </a:cubicBezTo>
                      <a:cubicBezTo>
                        <a:pt x="494" y="192"/>
                        <a:pt x="494" y="192"/>
                        <a:pt x="494" y="192"/>
                      </a:cubicBezTo>
                      <a:cubicBezTo>
                        <a:pt x="457" y="192"/>
                        <a:pt x="457" y="192"/>
                        <a:pt x="457" y="192"/>
                      </a:cubicBezTo>
                      <a:cubicBezTo>
                        <a:pt x="457" y="205"/>
                        <a:pt x="457" y="205"/>
                        <a:pt x="457" y="205"/>
                      </a:cubicBezTo>
                      <a:cubicBezTo>
                        <a:pt x="457" y="217"/>
                        <a:pt x="456" y="224"/>
                        <a:pt x="454" y="227"/>
                      </a:cubicBezTo>
                      <a:cubicBezTo>
                        <a:pt x="451" y="230"/>
                        <a:pt x="447" y="232"/>
                        <a:pt x="441" y="232"/>
                      </a:cubicBezTo>
                      <a:cubicBezTo>
                        <a:pt x="436" y="232"/>
                        <a:pt x="432" y="230"/>
                        <a:pt x="429" y="226"/>
                      </a:cubicBezTo>
                      <a:cubicBezTo>
                        <a:pt x="427" y="222"/>
                        <a:pt x="426" y="215"/>
                        <a:pt x="426" y="205"/>
                      </a:cubicBezTo>
                      <a:cubicBezTo>
                        <a:pt x="426" y="169"/>
                        <a:pt x="426" y="169"/>
                        <a:pt x="426" y="169"/>
                      </a:cubicBezTo>
                      <a:lnTo>
                        <a:pt x="494" y="169"/>
                      </a:lnTo>
                      <a:close/>
                      <a:moveTo>
                        <a:pt x="426" y="120"/>
                      </a:moveTo>
                      <a:cubicBezTo>
                        <a:pt x="426" y="112"/>
                        <a:pt x="427" y="106"/>
                        <a:pt x="429" y="102"/>
                      </a:cubicBezTo>
                      <a:cubicBezTo>
                        <a:pt x="432" y="99"/>
                        <a:pt x="436" y="97"/>
                        <a:pt x="442" y="97"/>
                      </a:cubicBezTo>
                      <a:cubicBezTo>
                        <a:pt x="447" y="97"/>
                        <a:pt x="451" y="99"/>
                        <a:pt x="453" y="102"/>
                      </a:cubicBezTo>
                      <a:cubicBezTo>
                        <a:pt x="456" y="106"/>
                        <a:pt x="457" y="112"/>
                        <a:pt x="457" y="120"/>
                      </a:cubicBezTo>
                      <a:cubicBezTo>
                        <a:pt x="457" y="139"/>
                        <a:pt x="457" y="139"/>
                        <a:pt x="457" y="139"/>
                      </a:cubicBezTo>
                      <a:cubicBezTo>
                        <a:pt x="426" y="139"/>
                        <a:pt x="426" y="139"/>
                        <a:pt x="426" y="139"/>
                      </a:cubicBezTo>
                      <a:lnTo>
                        <a:pt x="426" y="120"/>
                      </a:lnTo>
                      <a:close/>
                    </a:path>
                  </a:pathLst>
                </a:custGeom>
                <a:solidFill>
                  <a:srgbClr val="D7D7C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ct val="5000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20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</a:endParaRPr>
                </a:p>
              </p:txBody>
            </p:sp>
          </p:grpSp>
          <p:grpSp>
            <p:nvGrpSpPr>
              <p:cNvPr id="93" name="Group 34">
                <a:extLst>
                  <a:ext uri="{FF2B5EF4-FFF2-40B4-BE49-F238E27FC236}">
                    <a16:creationId xmlns:a16="http://schemas.microsoft.com/office/drawing/2014/main" id="{C0A2F1CB-A826-45E2-9E26-B777D79C7B92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7280105" y="3725451"/>
                <a:ext cx="385493" cy="385493"/>
                <a:chOff x="-3896" y="271"/>
                <a:chExt cx="3770" cy="3770"/>
              </a:xfrm>
              <a:grpFill/>
            </p:grpSpPr>
            <p:sp>
              <p:nvSpPr>
                <p:cNvPr id="94" name="Freeform 36">
                  <a:extLst>
                    <a:ext uri="{FF2B5EF4-FFF2-40B4-BE49-F238E27FC236}">
                      <a16:creationId xmlns:a16="http://schemas.microsoft.com/office/drawing/2014/main" id="{254BFC03-8542-4F8D-9C11-FD490A61D07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3896" y="271"/>
                  <a:ext cx="3770" cy="3770"/>
                </a:xfrm>
                <a:custGeom>
                  <a:avLst/>
                  <a:gdLst>
                    <a:gd name="T0" fmla="*/ 321 w 1596"/>
                    <a:gd name="T1" fmla="*/ 0 h 1596"/>
                    <a:gd name="T2" fmla="*/ 1298 w 1596"/>
                    <a:gd name="T3" fmla="*/ 0 h 1596"/>
                    <a:gd name="T4" fmla="*/ 1596 w 1596"/>
                    <a:gd name="T5" fmla="*/ 357 h 1596"/>
                    <a:gd name="T6" fmla="*/ 1596 w 1596"/>
                    <a:gd name="T7" fmla="*/ 1259 h 1596"/>
                    <a:gd name="T8" fmla="*/ 1272 w 1596"/>
                    <a:gd name="T9" fmla="*/ 1596 h 1596"/>
                    <a:gd name="T10" fmla="*/ 352 w 1596"/>
                    <a:gd name="T11" fmla="*/ 1596 h 1596"/>
                    <a:gd name="T12" fmla="*/ 0 w 1596"/>
                    <a:gd name="T13" fmla="*/ 1272 h 1596"/>
                    <a:gd name="T14" fmla="*/ 0 w 1596"/>
                    <a:gd name="T15" fmla="*/ 362 h 1596"/>
                    <a:gd name="T16" fmla="*/ 321 w 1596"/>
                    <a:gd name="T17" fmla="*/ 0 h 1596"/>
                    <a:gd name="T18" fmla="*/ 331 w 1596"/>
                    <a:gd name="T19" fmla="*/ 69 h 1596"/>
                    <a:gd name="T20" fmla="*/ 329 w 1596"/>
                    <a:gd name="T21" fmla="*/ 71 h 1596"/>
                    <a:gd name="T22" fmla="*/ 331 w 1596"/>
                    <a:gd name="T23" fmla="*/ 268 h 1596"/>
                    <a:gd name="T24" fmla="*/ 298 w 1596"/>
                    <a:gd name="T25" fmla="*/ 433 h 1596"/>
                    <a:gd name="T26" fmla="*/ 265 w 1596"/>
                    <a:gd name="T27" fmla="*/ 275 h 1596"/>
                    <a:gd name="T28" fmla="*/ 265 w 1596"/>
                    <a:gd name="T29" fmla="*/ 82 h 1596"/>
                    <a:gd name="T30" fmla="*/ 219 w 1596"/>
                    <a:gd name="T31" fmla="*/ 97 h 1596"/>
                    <a:gd name="T32" fmla="*/ 219 w 1596"/>
                    <a:gd name="T33" fmla="*/ 283 h 1596"/>
                    <a:gd name="T34" fmla="*/ 184 w 1596"/>
                    <a:gd name="T35" fmla="*/ 433 h 1596"/>
                    <a:gd name="T36" fmla="*/ 153 w 1596"/>
                    <a:gd name="T37" fmla="*/ 308 h 1596"/>
                    <a:gd name="T38" fmla="*/ 153 w 1596"/>
                    <a:gd name="T39" fmla="*/ 153 h 1596"/>
                    <a:gd name="T40" fmla="*/ 66 w 1596"/>
                    <a:gd name="T41" fmla="*/ 497 h 1596"/>
                    <a:gd name="T42" fmla="*/ 490 w 1596"/>
                    <a:gd name="T43" fmla="*/ 497 h 1596"/>
                    <a:gd name="T44" fmla="*/ 716 w 1596"/>
                    <a:gd name="T45" fmla="*/ 365 h 1596"/>
                    <a:gd name="T46" fmla="*/ 1061 w 1596"/>
                    <a:gd name="T47" fmla="*/ 454 h 1596"/>
                    <a:gd name="T48" fmla="*/ 1109 w 1596"/>
                    <a:gd name="T49" fmla="*/ 497 h 1596"/>
                    <a:gd name="T50" fmla="*/ 1214 w 1596"/>
                    <a:gd name="T51" fmla="*/ 497 h 1596"/>
                    <a:gd name="T52" fmla="*/ 1527 w 1596"/>
                    <a:gd name="T53" fmla="*/ 497 h 1596"/>
                    <a:gd name="T54" fmla="*/ 1491 w 1596"/>
                    <a:gd name="T55" fmla="*/ 219 h 1596"/>
                    <a:gd name="T56" fmla="*/ 1277 w 1596"/>
                    <a:gd name="T57" fmla="*/ 66 h 1596"/>
                    <a:gd name="T58" fmla="*/ 862 w 1596"/>
                    <a:gd name="T59" fmla="*/ 66 h 1596"/>
                    <a:gd name="T60" fmla="*/ 444 w 1596"/>
                    <a:gd name="T61" fmla="*/ 66 h 1596"/>
                    <a:gd name="T62" fmla="*/ 444 w 1596"/>
                    <a:gd name="T63" fmla="*/ 265 h 1596"/>
                    <a:gd name="T64" fmla="*/ 408 w 1596"/>
                    <a:gd name="T65" fmla="*/ 433 h 1596"/>
                    <a:gd name="T66" fmla="*/ 377 w 1596"/>
                    <a:gd name="T67" fmla="*/ 265 h 1596"/>
                    <a:gd name="T68" fmla="*/ 377 w 1596"/>
                    <a:gd name="T69" fmla="*/ 66 h 1596"/>
                    <a:gd name="T70" fmla="*/ 331 w 1596"/>
                    <a:gd name="T71" fmla="*/ 69 h 1596"/>
                    <a:gd name="T72" fmla="*/ 574 w 1596"/>
                    <a:gd name="T73" fmla="*/ 507 h 1596"/>
                    <a:gd name="T74" fmla="*/ 461 w 1596"/>
                    <a:gd name="T75" fmla="*/ 806 h 1596"/>
                    <a:gd name="T76" fmla="*/ 612 w 1596"/>
                    <a:gd name="T77" fmla="*/ 1045 h 1596"/>
                    <a:gd name="T78" fmla="*/ 948 w 1596"/>
                    <a:gd name="T79" fmla="*/ 1066 h 1596"/>
                    <a:gd name="T80" fmla="*/ 1132 w 1596"/>
                    <a:gd name="T81" fmla="*/ 818 h 1596"/>
                    <a:gd name="T82" fmla="*/ 1081 w 1596"/>
                    <a:gd name="T83" fmla="*/ 576 h 1596"/>
                    <a:gd name="T84" fmla="*/ 780 w 1596"/>
                    <a:gd name="T85" fmla="*/ 426 h 1596"/>
                    <a:gd name="T86" fmla="*/ 574 w 1596"/>
                    <a:gd name="T87" fmla="*/ 507 h 1596"/>
                    <a:gd name="T88" fmla="*/ 66 w 1596"/>
                    <a:gd name="T89" fmla="*/ 574 h 1596"/>
                    <a:gd name="T90" fmla="*/ 66 w 1596"/>
                    <a:gd name="T91" fmla="*/ 1096 h 1596"/>
                    <a:gd name="T92" fmla="*/ 82 w 1596"/>
                    <a:gd name="T93" fmla="*/ 1344 h 1596"/>
                    <a:gd name="T94" fmla="*/ 199 w 1596"/>
                    <a:gd name="T95" fmla="*/ 1489 h 1596"/>
                    <a:gd name="T96" fmla="*/ 739 w 1596"/>
                    <a:gd name="T97" fmla="*/ 1530 h 1596"/>
                    <a:gd name="T98" fmla="*/ 1030 w 1596"/>
                    <a:gd name="T99" fmla="*/ 1530 h 1596"/>
                    <a:gd name="T100" fmla="*/ 1313 w 1596"/>
                    <a:gd name="T101" fmla="*/ 1522 h 1596"/>
                    <a:gd name="T102" fmla="*/ 1481 w 1596"/>
                    <a:gd name="T103" fmla="*/ 1400 h 1596"/>
                    <a:gd name="T104" fmla="*/ 1530 w 1596"/>
                    <a:gd name="T105" fmla="*/ 1155 h 1596"/>
                    <a:gd name="T106" fmla="*/ 1530 w 1596"/>
                    <a:gd name="T107" fmla="*/ 569 h 1596"/>
                    <a:gd name="T108" fmla="*/ 1155 w 1596"/>
                    <a:gd name="T109" fmla="*/ 569 h 1596"/>
                    <a:gd name="T110" fmla="*/ 1188 w 1596"/>
                    <a:gd name="T111" fmla="*/ 653 h 1596"/>
                    <a:gd name="T112" fmla="*/ 1094 w 1596"/>
                    <a:gd name="T113" fmla="*/ 1038 h 1596"/>
                    <a:gd name="T114" fmla="*/ 760 w 1596"/>
                    <a:gd name="T115" fmla="*/ 1165 h 1596"/>
                    <a:gd name="T116" fmla="*/ 393 w 1596"/>
                    <a:gd name="T117" fmla="*/ 760 h 1596"/>
                    <a:gd name="T118" fmla="*/ 441 w 1596"/>
                    <a:gd name="T119" fmla="*/ 566 h 1596"/>
                    <a:gd name="T120" fmla="*/ 71 w 1596"/>
                    <a:gd name="T121" fmla="*/ 566 h 1596"/>
                    <a:gd name="T122" fmla="*/ 66 w 1596"/>
                    <a:gd name="T123" fmla="*/ 574 h 15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596" h="1596">
                      <a:moveTo>
                        <a:pt x="321" y="0"/>
                      </a:moveTo>
                      <a:cubicBezTo>
                        <a:pt x="647" y="0"/>
                        <a:pt x="972" y="0"/>
                        <a:pt x="1298" y="0"/>
                      </a:cubicBezTo>
                      <a:cubicBezTo>
                        <a:pt x="1479" y="37"/>
                        <a:pt x="1571" y="164"/>
                        <a:pt x="1596" y="357"/>
                      </a:cubicBezTo>
                      <a:cubicBezTo>
                        <a:pt x="1596" y="658"/>
                        <a:pt x="1596" y="959"/>
                        <a:pt x="1596" y="1259"/>
                      </a:cubicBezTo>
                      <a:cubicBezTo>
                        <a:pt x="1568" y="1451"/>
                        <a:pt x="1462" y="1566"/>
                        <a:pt x="1272" y="1596"/>
                      </a:cubicBezTo>
                      <a:cubicBezTo>
                        <a:pt x="965" y="1596"/>
                        <a:pt x="659" y="1596"/>
                        <a:pt x="352" y="1596"/>
                      </a:cubicBezTo>
                      <a:cubicBezTo>
                        <a:pt x="146" y="1577"/>
                        <a:pt x="22" y="1476"/>
                        <a:pt x="0" y="1272"/>
                      </a:cubicBezTo>
                      <a:cubicBezTo>
                        <a:pt x="0" y="969"/>
                        <a:pt x="0" y="665"/>
                        <a:pt x="0" y="362"/>
                      </a:cubicBezTo>
                      <a:cubicBezTo>
                        <a:pt x="24" y="158"/>
                        <a:pt x="121" y="27"/>
                        <a:pt x="321" y="0"/>
                      </a:cubicBezTo>
                      <a:close/>
                      <a:moveTo>
                        <a:pt x="331" y="69"/>
                      </a:moveTo>
                      <a:cubicBezTo>
                        <a:pt x="330" y="69"/>
                        <a:pt x="328" y="69"/>
                        <a:pt x="329" y="71"/>
                      </a:cubicBezTo>
                      <a:cubicBezTo>
                        <a:pt x="334" y="131"/>
                        <a:pt x="331" y="197"/>
                        <a:pt x="331" y="268"/>
                      </a:cubicBezTo>
                      <a:cubicBezTo>
                        <a:pt x="331" y="321"/>
                        <a:pt x="348" y="433"/>
                        <a:pt x="298" y="433"/>
                      </a:cubicBezTo>
                      <a:cubicBezTo>
                        <a:pt x="246" y="434"/>
                        <a:pt x="265" y="323"/>
                        <a:pt x="265" y="275"/>
                      </a:cubicBezTo>
                      <a:cubicBezTo>
                        <a:pt x="265" y="205"/>
                        <a:pt x="265" y="145"/>
                        <a:pt x="265" y="82"/>
                      </a:cubicBezTo>
                      <a:cubicBezTo>
                        <a:pt x="244" y="81"/>
                        <a:pt x="235" y="92"/>
                        <a:pt x="219" y="97"/>
                      </a:cubicBezTo>
                      <a:cubicBezTo>
                        <a:pt x="219" y="157"/>
                        <a:pt x="219" y="215"/>
                        <a:pt x="219" y="283"/>
                      </a:cubicBezTo>
                      <a:cubicBezTo>
                        <a:pt x="219" y="335"/>
                        <a:pt x="235" y="436"/>
                        <a:pt x="184" y="433"/>
                      </a:cubicBezTo>
                      <a:cubicBezTo>
                        <a:pt x="140" y="431"/>
                        <a:pt x="153" y="354"/>
                        <a:pt x="153" y="308"/>
                      </a:cubicBezTo>
                      <a:cubicBezTo>
                        <a:pt x="153" y="252"/>
                        <a:pt x="153" y="203"/>
                        <a:pt x="153" y="153"/>
                      </a:cubicBezTo>
                      <a:cubicBezTo>
                        <a:pt x="83" y="216"/>
                        <a:pt x="58" y="347"/>
                        <a:pt x="66" y="497"/>
                      </a:cubicBezTo>
                      <a:cubicBezTo>
                        <a:pt x="207" y="497"/>
                        <a:pt x="348" y="497"/>
                        <a:pt x="490" y="497"/>
                      </a:cubicBezTo>
                      <a:cubicBezTo>
                        <a:pt x="549" y="440"/>
                        <a:pt x="619" y="384"/>
                        <a:pt x="716" y="365"/>
                      </a:cubicBezTo>
                      <a:cubicBezTo>
                        <a:pt x="864" y="336"/>
                        <a:pt x="986" y="392"/>
                        <a:pt x="1061" y="454"/>
                      </a:cubicBezTo>
                      <a:cubicBezTo>
                        <a:pt x="1075" y="466"/>
                        <a:pt x="1094" y="493"/>
                        <a:pt x="1109" y="497"/>
                      </a:cubicBezTo>
                      <a:cubicBezTo>
                        <a:pt x="1137" y="504"/>
                        <a:pt x="1180" y="497"/>
                        <a:pt x="1214" y="497"/>
                      </a:cubicBezTo>
                      <a:cubicBezTo>
                        <a:pt x="1322" y="497"/>
                        <a:pt x="1424" y="497"/>
                        <a:pt x="1527" y="497"/>
                      </a:cubicBezTo>
                      <a:cubicBezTo>
                        <a:pt x="1537" y="390"/>
                        <a:pt x="1526" y="292"/>
                        <a:pt x="1491" y="219"/>
                      </a:cubicBezTo>
                      <a:cubicBezTo>
                        <a:pt x="1455" y="143"/>
                        <a:pt x="1376" y="73"/>
                        <a:pt x="1277" y="66"/>
                      </a:cubicBezTo>
                      <a:cubicBezTo>
                        <a:pt x="1151" y="58"/>
                        <a:pt x="1006" y="66"/>
                        <a:pt x="862" y="66"/>
                      </a:cubicBezTo>
                      <a:cubicBezTo>
                        <a:pt x="718" y="66"/>
                        <a:pt x="574" y="66"/>
                        <a:pt x="444" y="66"/>
                      </a:cubicBezTo>
                      <a:cubicBezTo>
                        <a:pt x="444" y="122"/>
                        <a:pt x="444" y="194"/>
                        <a:pt x="444" y="265"/>
                      </a:cubicBezTo>
                      <a:cubicBezTo>
                        <a:pt x="444" y="319"/>
                        <a:pt x="462" y="436"/>
                        <a:pt x="408" y="433"/>
                      </a:cubicBezTo>
                      <a:cubicBezTo>
                        <a:pt x="359" y="431"/>
                        <a:pt x="377" y="314"/>
                        <a:pt x="377" y="265"/>
                      </a:cubicBezTo>
                      <a:cubicBezTo>
                        <a:pt x="377" y="192"/>
                        <a:pt x="377" y="132"/>
                        <a:pt x="377" y="66"/>
                      </a:cubicBezTo>
                      <a:cubicBezTo>
                        <a:pt x="362" y="67"/>
                        <a:pt x="343" y="64"/>
                        <a:pt x="331" y="69"/>
                      </a:cubicBezTo>
                      <a:close/>
                      <a:moveTo>
                        <a:pt x="574" y="507"/>
                      </a:moveTo>
                      <a:cubicBezTo>
                        <a:pt x="506" y="566"/>
                        <a:pt x="447" y="667"/>
                        <a:pt x="461" y="806"/>
                      </a:cubicBezTo>
                      <a:cubicBezTo>
                        <a:pt x="473" y="919"/>
                        <a:pt x="545" y="1001"/>
                        <a:pt x="612" y="1045"/>
                      </a:cubicBezTo>
                      <a:cubicBezTo>
                        <a:pt x="707" y="1108"/>
                        <a:pt x="842" y="1120"/>
                        <a:pt x="948" y="1066"/>
                      </a:cubicBezTo>
                      <a:cubicBezTo>
                        <a:pt x="1037" y="1020"/>
                        <a:pt x="1114" y="931"/>
                        <a:pt x="1132" y="818"/>
                      </a:cubicBezTo>
                      <a:cubicBezTo>
                        <a:pt x="1148" y="721"/>
                        <a:pt x="1123" y="639"/>
                        <a:pt x="1081" y="576"/>
                      </a:cubicBezTo>
                      <a:cubicBezTo>
                        <a:pt x="1027" y="495"/>
                        <a:pt x="917" y="416"/>
                        <a:pt x="780" y="426"/>
                      </a:cubicBezTo>
                      <a:cubicBezTo>
                        <a:pt x="685" y="433"/>
                        <a:pt x="622" y="465"/>
                        <a:pt x="574" y="507"/>
                      </a:cubicBezTo>
                      <a:close/>
                      <a:moveTo>
                        <a:pt x="66" y="574"/>
                      </a:moveTo>
                      <a:cubicBezTo>
                        <a:pt x="66" y="743"/>
                        <a:pt x="66" y="931"/>
                        <a:pt x="66" y="1096"/>
                      </a:cubicBezTo>
                      <a:cubicBezTo>
                        <a:pt x="66" y="1192"/>
                        <a:pt x="61" y="1277"/>
                        <a:pt x="82" y="1344"/>
                      </a:cubicBezTo>
                      <a:cubicBezTo>
                        <a:pt x="101" y="1407"/>
                        <a:pt x="140" y="1458"/>
                        <a:pt x="199" y="1489"/>
                      </a:cubicBezTo>
                      <a:cubicBezTo>
                        <a:pt x="320" y="1553"/>
                        <a:pt x="567" y="1530"/>
                        <a:pt x="739" y="1530"/>
                      </a:cubicBezTo>
                      <a:cubicBezTo>
                        <a:pt x="831" y="1530"/>
                        <a:pt x="928" y="1530"/>
                        <a:pt x="1030" y="1530"/>
                      </a:cubicBezTo>
                      <a:cubicBezTo>
                        <a:pt x="1125" y="1530"/>
                        <a:pt x="1237" y="1541"/>
                        <a:pt x="1313" y="1522"/>
                      </a:cubicBezTo>
                      <a:cubicBezTo>
                        <a:pt x="1389" y="1503"/>
                        <a:pt x="1445" y="1456"/>
                        <a:pt x="1481" y="1400"/>
                      </a:cubicBezTo>
                      <a:cubicBezTo>
                        <a:pt x="1523" y="1334"/>
                        <a:pt x="1530" y="1255"/>
                        <a:pt x="1530" y="1155"/>
                      </a:cubicBezTo>
                      <a:cubicBezTo>
                        <a:pt x="1530" y="968"/>
                        <a:pt x="1530" y="769"/>
                        <a:pt x="1530" y="569"/>
                      </a:cubicBezTo>
                      <a:cubicBezTo>
                        <a:pt x="1405" y="569"/>
                        <a:pt x="1280" y="569"/>
                        <a:pt x="1155" y="569"/>
                      </a:cubicBezTo>
                      <a:cubicBezTo>
                        <a:pt x="1166" y="600"/>
                        <a:pt x="1180" y="623"/>
                        <a:pt x="1188" y="653"/>
                      </a:cubicBezTo>
                      <a:cubicBezTo>
                        <a:pt x="1231" y="806"/>
                        <a:pt x="1174" y="952"/>
                        <a:pt x="1094" y="1038"/>
                      </a:cubicBezTo>
                      <a:cubicBezTo>
                        <a:pt x="1016" y="1120"/>
                        <a:pt x="906" y="1176"/>
                        <a:pt x="760" y="1165"/>
                      </a:cubicBezTo>
                      <a:cubicBezTo>
                        <a:pt x="557" y="1150"/>
                        <a:pt x="392" y="978"/>
                        <a:pt x="393" y="760"/>
                      </a:cubicBezTo>
                      <a:cubicBezTo>
                        <a:pt x="393" y="681"/>
                        <a:pt x="417" y="630"/>
                        <a:pt x="441" y="566"/>
                      </a:cubicBezTo>
                      <a:cubicBezTo>
                        <a:pt x="318" y="566"/>
                        <a:pt x="195" y="566"/>
                        <a:pt x="71" y="566"/>
                      </a:cubicBezTo>
                      <a:cubicBezTo>
                        <a:pt x="68" y="567"/>
                        <a:pt x="66" y="569"/>
                        <a:pt x="66" y="57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5" name="Freeform 39">
                  <a:extLst>
                    <a:ext uri="{FF2B5EF4-FFF2-40B4-BE49-F238E27FC236}">
                      <a16:creationId xmlns:a16="http://schemas.microsoft.com/office/drawing/2014/main" id="{66A44926-4CAE-47C1-948D-B5304B40EFA6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282" y="609"/>
                  <a:ext cx="648" cy="636"/>
                </a:xfrm>
                <a:custGeom>
                  <a:avLst/>
                  <a:gdLst>
                    <a:gd name="T0" fmla="*/ 71 w 274"/>
                    <a:gd name="T1" fmla="*/ 15 h 269"/>
                    <a:gd name="T2" fmla="*/ 265 w 274"/>
                    <a:gd name="T3" fmla="*/ 61 h 269"/>
                    <a:gd name="T4" fmla="*/ 262 w 274"/>
                    <a:gd name="T5" fmla="*/ 224 h 269"/>
                    <a:gd name="T6" fmla="*/ 140 w 274"/>
                    <a:gd name="T7" fmla="*/ 267 h 269"/>
                    <a:gd name="T8" fmla="*/ 17 w 274"/>
                    <a:gd name="T9" fmla="*/ 222 h 269"/>
                    <a:gd name="T10" fmla="*/ 30 w 274"/>
                    <a:gd name="T11" fmla="*/ 35 h 269"/>
                    <a:gd name="T12" fmla="*/ 71 w 274"/>
                    <a:gd name="T13" fmla="*/ 15 h 26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4" h="269">
                      <a:moveTo>
                        <a:pt x="71" y="15"/>
                      </a:moveTo>
                      <a:cubicBezTo>
                        <a:pt x="142" y="0"/>
                        <a:pt x="247" y="4"/>
                        <a:pt x="265" y="61"/>
                      </a:cubicBezTo>
                      <a:cubicBezTo>
                        <a:pt x="274" y="90"/>
                        <a:pt x="274" y="194"/>
                        <a:pt x="262" y="224"/>
                      </a:cubicBezTo>
                      <a:cubicBezTo>
                        <a:pt x="245" y="266"/>
                        <a:pt x="201" y="267"/>
                        <a:pt x="140" y="267"/>
                      </a:cubicBezTo>
                      <a:cubicBezTo>
                        <a:pt x="82" y="267"/>
                        <a:pt x="36" y="269"/>
                        <a:pt x="17" y="222"/>
                      </a:cubicBezTo>
                      <a:cubicBezTo>
                        <a:pt x="0" y="176"/>
                        <a:pt x="8" y="60"/>
                        <a:pt x="30" y="35"/>
                      </a:cubicBezTo>
                      <a:cubicBezTo>
                        <a:pt x="38" y="27"/>
                        <a:pt x="56" y="18"/>
                        <a:pt x="71" y="1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96" name="Freeform 41">
                  <a:extLst>
                    <a:ext uri="{FF2B5EF4-FFF2-40B4-BE49-F238E27FC236}">
                      <a16:creationId xmlns:a16="http://schemas.microsoft.com/office/drawing/2014/main" id="{B48E7A6E-2B40-4C91-B518-713B258B30A0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2616" y="1438"/>
                  <a:ext cx="1207" cy="1403"/>
                </a:xfrm>
                <a:custGeom>
                  <a:avLst/>
                  <a:gdLst>
                    <a:gd name="T0" fmla="*/ 233 w 511"/>
                    <a:gd name="T1" fmla="*/ 16 h 594"/>
                    <a:gd name="T2" fmla="*/ 511 w 511"/>
                    <a:gd name="T3" fmla="*/ 268 h 594"/>
                    <a:gd name="T4" fmla="*/ 78 w 511"/>
                    <a:gd name="T5" fmla="*/ 449 h 594"/>
                    <a:gd name="T6" fmla="*/ 1 w 511"/>
                    <a:gd name="T7" fmla="*/ 273 h 594"/>
                    <a:gd name="T8" fmla="*/ 123 w 511"/>
                    <a:gd name="T9" fmla="*/ 49 h 594"/>
                    <a:gd name="T10" fmla="*/ 233 w 511"/>
                    <a:gd name="T11" fmla="*/ 16 h 594"/>
                    <a:gd name="T12" fmla="*/ 192 w 511"/>
                    <a:gd name="T13" fmla="*/ 156 h 594"/>
                    <a:gd name="T14" fmla="*/ 259 w 511"/>
                    <a:gd name="T15" fmla="*/ 396 h 594"/>
                    <a:gd name="T16" fmla="*/ 383 w 511"/>
                    <a:gd name="T17" fmla="*/ 263 h 594"/>
                    <a:gd name="T18" fmla="*/ 241 w 511"/>
                    <a:gd name="T19" fmla="*/ 143 h 594"/>
                    <a:gd name="T20" fmla="*/ 192 w 511"/>
                    <a:gd name="T21" fmla="*/ 156 h 59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11" h="594">
                      <a:moveTo>
                        <a:pt x="233" y="16"/>
                      </a:moveTo>
                      <a:cubicBezTo>
                        <a:pt x="391" y="0"/>
                        <a:pt x="511" y="119"/>
                        <a:pt x="511" y="268"/>
                      </a:cubicBezTo>
                      <a:cubicBezTo>
                        <a:pt x="511" y="508"/>
                        <a:pt x="224" y="594"/>
                        <a:pt x="78" y="449"/>
                      </a:cubicBezTo>
                      <a:cubicBezTo>
                        <a:pt x="36" y="408"/>
                        <a:pt x="2" y="351"/>
                        <a:pt x="1" y="273"/>
                      </a:cubicBezTo>
                      <a:cubicBezTo>
                        <a:pt x="0" y="170"/>
                        <a:pt x="53" y="92"/>
                        <a:pt x="123" y="49"/>
                      </a:cubicBezTo>
                      <a:cubicBezTo>
                        <a:pt x="152" y="32"/>
                        <a:pt x="190" y="20"/>
                        <a:pt x="233" y="16"/>
                      </a:cubicBezTo>
                      <a:close/>
                      <a:moveTo>
                        <a:pt x="192" y="156"/>
                      </a:moveTo>
                      <a:cubicBezTo>
                        <a:pt x="87" y="213"/>
                        <a:pt x="125" y="398"/>
                        <a:pt x="259" y="396"/>
                      </a:cubicBezTo>
                      <a:cubicBezTo>
                        <a:pt x="334" y="394"/>
                        <a:pt x="386" y="327"/>
                        <a:pt x="383" y="263"/>
                      </a:cubicBezTo>
                      <a:cubicBezTo>
                        <a:pt x="381" y="188"/>
                        <a:pt x="317" y="134"/>
                        <a:pt x="241" y="143"/>
                      </a:cubicBezTo>
                      <a:cubicBezTo>
                        <a:pt x="215" y="147"/>
                        <a:pt x="206" y="148"/>
                        <a:pt x="192" y="15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</p:grpSp>
        <p:grpSp>
          <p:nvGrpSpPr>
            <p:cNvPr id="104" name="Group 244">
              <a:extLst>
                <a:ext uri="{FF2B5EF4-FFF2-40B4-BE49-F238E27FC236}">
                  <a16:creationId xmlns:a16="http://schemas.microsoft.com/office/drawing/2014/main" id="{9577302E-B875-487E-9A19-29FFEB32B3A1}"/>
                </a:ext>
              </a:extLst>
            </p:cNvPr>
            <p:cNvGrpSpPr/>
            <p:nvPr/>
          </p:nvGrpSpPr>
          <p:grpSpPr bwMode="gray">
            <a:xfrm>
              <a:off x="3921355" y="3085045"/>
              <a:ext cx="1615828" cy="1201809"/>
              <a:chOff x="3962545" y="2981618"/>
              <a:chExt cx="1615828" cy="1201809"/>
            </a:xfrm>
          </p:grpSpPr>
          <p:grpSp>
            <p:nvGrpSpPr>
              <p:cNvPr id="105" name="Group 10">
                <a:extLst>
                  <a:ext uri="{FF2B5EF4-FFF2-40B4-BE49-F238E27FC236}">
                    <a16:creationId xmlns:a16="http://schemas.microsoft.com/office/drawing/2014/main" id="{C35F02CE-F55E-4D62-99DB-F411F168AAC0}"/>
                  </a:ext>
                </a:extLst>
              </p:cNvPr>
              <p:cNvGrpSpPr>
                <a:grpSpLocks noChangeAspect="1"/>
              </p:cNvGrpSpPr>
              <p:nvPr/>
            </p:nvGrpSpPr>
            <p:grpSpPr bwMode="gray">
              <a:xfrm>
                <a:off x="4169926" y="2981618"/>
                <a:ext cx="1201064" cy="1201809"/>
                <a:chOff x="-2747" y="2704"/>
                <a:chExt cx="1615" cy="1616"/>
              </a:xfrm>
              <a:solidFill>
                <a:srgbClr val="55A0B9"/>
              </a:solidFill>
            </p:grpSpPr>
            <p:sp>
              <p:nvSpPr>
                <p:cNvPr id="107" name="Freeform 11">
                  <a:extLst>
                    <a:ext uri="{FF2B5EF4-FFF2-40B4-BE49-F238E27FC236}">
                      <a16:creationId xmlns:a16="http://schemas.microsoft.com/office/drawing/2014/main" id="{C5A8B724-83BD-494A-924F-12D7706203A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690" y="3047"/>
                  <a:ext cx="17" cy="7"/>
                </a:xfrm>
                <a:custGeom>
                  <a:avLst/>
                  <a:gdLst>
                    <a:gd name="T0" fmla="*/ 0 w 19"/>
                    <a:gd name="T1" fmla="*/ 0 h 8"/>
                    <a:gd name="T2" fmla="*/ 2 w 19"/>
                    <a:gd name="T3" fmla="*/ 2 h 8"/>
                    <a:gd name="T4" fmla="*/ 17 w 19"/>
                    <a:gd name="T5" fmla="*/ 2 h 8"/>
                    <a:gd name="T6" fmla="*/ 19 w 19"/>
                    <a:gd name="T7" fmla="*/ 0 h 8"/>
                    <a:gd name="T8" fmla="*/ 0 w 19"/>
                    <a:gd name="T9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9" h="8">
                      <a:moveTo>
                        <a:pt x="0" y="0"/>
                      </a:moveTo>
                      <a:cubicBezTo>
                        <a:pt x="2" y="2"/>
                        <a:pt x="2" y="2"/>
                        <a:pt x="2" y="2"/>
                      </a:cubicBezTo>
                      <a:cubicBezTo>
                        <a:pt x="7" y="4"/>
                        <a:pt x="12" y="8"/>
                        <a:pt x="17" y="2"/>
                      </a:cubicBezTo>
                      <a:cubicBezTo>
                        <a:pt x="19" y="0"/>
                        <a:pt x="19" y="0"/>
                        <a:pt x="19" y="0"/>
                      </a:cubicBezTo>
                      <a:cubicBezTo>
                        <a:pt x="14" y="2"/>
                        <a:pt x="7" y="1"/>
                        <a:pt x="0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8" name="Freeform 12">
                  <a:extLst>
                    <a:ext uri="{FF2B5EF4-FFF2-40B4-BE49-F238E27FC236}">
                      <a16:creationId xmlns:a16="http://schemas.microsoft.com/office/drawing/2014/main" id="{E1806802-CE01-469A-8DBC-6EBBAFBA1FC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-1776" y="3067"/>
                  <a:ext cx="1" cy="0"/>
                </a:xfrm>
                <a:custGeom>
                  <a:avLst/>
                  <a:gdLst>
                    <a:gd name="T0" fmla="*/ 1 w 1"/>
                    <a:gd name="T1" fmla="*/ 0 w 1"/>
                    <a:gd name="T2" fmla="*/ 1 w 1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  <p:sp>
              <p:nvSpPr>
                <p:cNvPr id="109" name="Freeform 13">
                  <a:extLst>
                    <a:ext uri="{FF2B5EF4-FFF2-40B4-BE49-F238E27FC236}">
                      <a16:creationId xmlns:a16="http://schemas.microsoft.com/office/drawing/2014/main" id="{FE7C8AD4-0E2E-425D-9C2B-4559DCE930BB}"/>
                    </a:ext>
                  </a:extLst>
                </p:cNvPr>
                <p:cNvSpPr>
                  <a:spLocks noEditPoints="1"/>
                </p:cNvSpPr>
                <p:nvPr/>
              </p:nvSpPr>
              <p:spPr bwMode="gray">
                <a:xfrm>
                  <a:off x="-2747" y="2704"/>
                  <a:ext cx="1615" cy="1616"/>
                </a:xfrm>
                <a:custGeom>
                  <a:avLst/>
                  <a:gdLst>
                    <a:gd name="T0" fmla="*/ 284 w 1773"/>
                    <a:gd name="T1" fmla="*/ 451 h 1774"/>
                    <a:gd name="T2" fmla="*/ 1278 w 1773"/>
                    <a:gd name="T3" fmla="*/ 1603 h 1774"/>
                    <a:gd name="T4" fmla="*/ 1715 w 1773"/>
                    <a:gd name="T5" fmla="*/ 809 h 1774"/>
                    <a:gd name="T6" fmla="*/ 1635 w 1773"/>
                    <a:gd name="T7" fmla="*/ 988 h 1774"/>
                    <a:gd name="T8" fmla="*/ 1539 w 1773"/>
                    <a:gd name="T9" fmla="*/ 949 h 1774"/>
                    <a:gd name="T10" fmla="*/ 1333 w 1773"/>
                    <a:gd name="T11" fmla="*/ 1000 h 1774"/>
                    <a:gd name="T12" fmla="*/ 1308 w 1773"/>
                    <a:gd name="T13" fmla="*/ 1044 h 1774"/>
                    <a:gd name="T14" fmla="*/ 1366 w 1773"/>
                    <a:gd name="T15" fmla="*/ 1137 h 1774"/>
                    <a:gd name="T16" fmla="*/ 1161 w 1773"/>
                    <a:gd name="T17" fmla="*/ 1137 h 1774"/>
                    <a:gd name="T18" fmla="*/ 1125 w 1773"/>
                    <a:gd name="T19" fmla="*/ 1141 h 1774"/>
                    <a:gd name="T20" fmla="*/ 1284 w 1773"/>
                    <a:gd name="T21" fmla="*/ 1361 h 1774"/>
                    <a:gd name="T22" fmla="*/ 1130 w 1773"/>
                    <a:gd name="T23" fmla="*/ 1611 h 1774"/>
                    <a:gd name="T24" fmla="*/ 849 w 1773"/>
                    <a:gd name="T25" fmla="*/ 1718 h 1774"/>
                    <a:gd name="T26" fmla="*/ 746 w 1773"/>
                    <a:gd name="T27" fmla="*/ 1490 h 1774"/>
                    <a:gd name="T28" fmla="*/ 659 w 1773"/>
                    <a:gd name="T29" fmla="*/ 1362 h 1774"/>
                    <a:gd name="T30" fmla="*/ 373 w 1773"/>
                    <a:gd name="T31" fmla="*/ 1163 h 1774"/>
                    <a:gd name="T32" fmla="*/ 588 w 1773"/>
                    <a:gd name="T33" fmla="*/ 918 h 1774"/>
                    <a:gd name="T34" fmla="*/ 825 w 1773"/>
                    <a:gd name="T35" fmla="*/ 1005 h 1774"/>
                    <a:gd name="T36" fmla="*/ 1080 w 1773"/>
                    <a:gd name="T37" fmla="*/ 933 h 1774"/>
                    <a:gd name="T38" fmla="*/ 1041 w 1773"/>
                    <a:gd name="T39" fmla="*/ 841 h 1774"/>
                    <a:gd name="T40" fmla="*/ 1050 w 1773"/>
                    <a:gd name="T41" fmla="*/ 783 h 1774"/>
                    <a:gd name="T42" fmla="*/ 931 w 1773"/>
                    <a:gd name="T43" fmla="*/ 880 h 1774"/>
                    <a:gd name="T44" fmla="*/ 867 w 1773"/>
                    <a:gd name="T45" fmla="*/ 837 h 1774"/>
                    <a:gd name="T46" fmla="*/ 760 w 1773"/>
                    <a:gd name="T47" fmla="*/ 816 h 1774"/>
                    <a:gd name="T48" fmla="*/ 560 w 1773"/>
                    <a:gd name="T49" fmla="*/ 883 h 1774"/>
                    <a:gd name="T50" fmla="*/ 725 w 1773"/>
                    <a:gd name="T51" fmla="*/ 708 h 1774"/>
                    <a:gd name="T52" fmla="*/ 884 w 1773"/>
                    <a:gd name="T53" fmla="*/ 661 h 1774"/>
                    <a:gd name="T54" fmla="*/ 918 w 1773"/>
                    <a:gd name="T55" fmla="*/ 520 h 1774"/>
                    <a:gd name="T56" fmla="*/ 844 w 1773"/>
                    <a:gd name="T57" fmla="*/ 632 h 1774"/>
                    <a:gd name="T58" fmla="*/ 802 w 1773"/>
                    <a:gd name="T59" fmla="*/ 531 h 1774"/>
                    <a:gd name="T60" fmla="*/ 960 w 1773"/>
                    <a:gd name="T61" fmla="*/ 454 h 1774"/>
                    <a:gd name="T62" fmla="*/ 1024 w 1773"/>
                    <a:gd name="T63" fmla="*/ 445 h 1774"/>
                    <a:gd name="T64" fmla="*/ 1156 w 1773"/>
                    <a:gd name="T65" fmla="*/ 402 h 1774"/>
                    <a:gd name="T66" fmla="*/ 1095 w 1773"/>
                    <a:gd name="T67" fmla="*/ 246 h 1774"/>
                    <a:gd name="T68" fmla="*/ 1106 w 1773"/>
                    <a:gd name="T69" fmla="*/ 130 h 1774"/>
                    <a:gd name="T70" fmla="*/ 1035 w 1773"/>
                    <a:gd name="T71" fmla="*/ 39 h 1774"/>
                    <a:gd name="T72" fmla="*/ 1210 w 1773"/>
                    <a:gd name="T73" fmla="*/ 97 h 1774"/>
                    <a:gd name="T74" fmla="*/ 1413 w 1773"/>
                    <a:gd name="T75" fmla="*/ 196 h 1774"/>
                    <a:gd name="T76" fmla="*/ 1563 w 1773"/>
                    <a:gd name="T77" fmla="*/ 372 h 1774"/>
                    <a:gd name="T78" fmla="*/ 1711 w 1773"/>
                    <a:gd name="T79" fmla="*/ 658 h 1774"/>
                    <a:gd name="T80" fmla="*/ 1293 w 1773"/>
                    <a:gd name="T81" fmla="*/ 1026 h 1774"/>
                    <a:gd name="T82" fmla="*/ 512 w 1773"/>
                    <a:gd name="T83" fmla="*/ 203 h 1774"/>
                    <a:gd name="T84" fmla="*/ 804 w 1773"/>
                    <a:gd name="T85" fmla="*/ 284 h 1774"/>
                    <a:gd name="T86" fmla="*/ 681 w 1773"/>
                    <a:gd name="T87" fmla="*/ 392 h 1774"/>
                    <a:gd name="T88" fmla="*/ 496 w 1773"/>
                    <a:gd name="T89" fmla="*/ 426 h 1774"/>
                    <a:gd name="T90" fmla="*/ 612 w 1773"/>
                    <a:gd name="T91" fmla="*/ 296 h 1774"/>
                    <a:gd name="T92" fmla="*/ 770 w 1773"/>
                    <a:gd name="T93" fmla="*/ 240 h 1774"/>
                    <a:gd name="T94" fmla="*/ 694 w 1773"/>
                    <a:gd name="T95" fmla="*/ 579 h 1774"/>
                    <a:gd name="T96" fmla="*/ 643 w 1773"/>
                    <a:gd name="T97" fmla="*/ 659 h 1774"/>
                    <a:gd name="T98" fmla="*/ 674 w 1773"/>
                    <a:gd name="T99" fmla="*/ 579 h 1774"/>
                    <a:gd name="T100" fmla="*/ 630 w 1773"/>
                    <a:gd name="T101" fmla="*/ 212 h 1774"/>
                    <a:gd name="T102" fmla="*/ 715 w 1773"/>
                    <a:gd name="T103" fmla="*/ 155 h 1774"/>
                    <a:gd name="T104" fmla="*/ 763 w 1773"/>
                    <a:gd name="T105" fmla="*/ 889 h 1774"/>
                    <a:gd name="T106" fmla="*/ 892 w 1773"/>
                    <a:gd name="T107" fmla="*/ 907 h 1774"/>
                    <a:gd name="T108" fmla="*/ 984 w 1773"/>
                    <a:gd name="T109" fmla="*/ 937 h 1774"/>
                    <a:gd name="T110" fmla="*/ 804 w 1773"/>
                    <a:gd name="T111" fmla="*/ 650 h 1774"/>
                    <a:gd name="T112" fmla="*/ 888 w 1773"/>
                    <a:gd name="T113" fmla="*/ 579 h 1774"/>
                    <a:gd name="T114" fmla="*/ 904 w 1773"/>
                    <a:gd name="T115" fmla="*/ 321 h 1774"/>
                    <a:gd name="T116" fmla="*/ 1036 w 1773"/>
                    <a:gd name="T117" fmla="*/ 347 h 1774"/>
                    <a:gd name="T118" fmla="*/ 1068 w 1773"/>
                    <a:gd name="T119" fmla="*/ 151 h 1774"/>
                    <a:gd name="T120" fmla="*/ 1088 w 1773"/>
                    <a:gd name="T121" fmla="*/ 158 h 1774"/>
                    <a:gd name="T122" fmla="*/ 934 w 1773"/>
                    <a:gd name="T123" fmla="*/ 32 h 1774"/>
                    <a:gd name="T124" fmla="*/ 293 w 1773"/>
                    <a:gd name="T125" fmla="*/ 422 h 17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73" h="1774">
                      <a:moveTo>
                        <a:pt x="887" y="0"/>
                      </a:moveTo>
                      <a:cubicBezTo>
                        <a:pt x="397" y="0"/>
                        <a:pt x="0" y="397"/>
                        <a:pt x="0" y="887"/>
                      </a:cubicBezTo>
                      <a:cubicBezTo>
                        <a:pt x="0" y="1377"/>
                        <a:pt x="397" y="1774"/>
                        <a:pt x="887" y="1774"/>
                      </a:cubicBezTo>
                      <a:cubicBezTo>
                        <a:pt x="1376" y="1774"/>
                        <a:pt x="1773" y="1377"/>
                        <a:pt x="1773" y="887"/>
                      </a:cubicBezTo>
                      <a:cubicBezTo>
                        <a:pt x="1773" y="397"/>
                        <a:pt x="1376" y="0"/>
                        <a:pt x="887" y="0"/>
                      </a:cubicBezTo>
                      <a:close/>
                      <a:moveTo>
                        <a:pt x="15" y="887"/>
                      </a:moveTo>
                      <a:cubicBezTo>
                        <a:pt x="15" y="861"/>
                        <a:pt x="16" y="836"/>
                        <a:pt x="18" y="810"/>
                      </a:cubicBezTo>
                      <a:cubicBezTo>
                        <a:pt x="22" y="820"/>
                        <a:pt x="22" y="842"/>
                        <a:pt x="24" y="853"/>
                      </a:cubicBezTo>
                      <a:cubicBezTo>
                        <a:pt x="24" y="856"/>
                        <a:pt x="24" y="866"/>
                        <a:pt x="24" y="870"/>
                      </a:cubicBezTo>
                      <a:cubicBezTo>
                        <a:pt x="23" y="879"/>
                        <a:pt x="23" y="886"/>
                        <a:pt x="24" y="895"/>
                      </a:cubicBezTo>
                      <a:cubicBezTo>
                        <a:pt x="25" y="903"/>
                        <a:pt x="24" y="909"/>
                        <a:pt x="25" y="916"/>
                      </a:cubicBezTo>
                      <a:cubicBezTo>
                        <a:pt x="26" y="919"/>
                        <a:pt x="30" y="934"/>
                        <a:pt x="29" y="937"/>
                      </a:cubicBezTo>
                      <a:cubicBezTo>
                        <a:pt x="28" y="940"/>
                        <a:pt x="34" y="955"/>
                        <a:pt x="37" y="958"/>
                      </a:cubicBezTo>
                      <a:cubicBezTo>
                        <a:pt x="48" y="968"/>
                        <a:pt x="49" y="972"/>
                        <a:pt x="49" y="987"/>
                      </a:cubicBezTo>
                      <a:cubicBezTo>
                        <a:pt x="50" y="996"/>
                        <a:pt x="55" y="992"/>
                        <a:pt x="51" y="1005"/>
                      </a:cubicBezTo>
                      <a:cubicBezTo>
                        <a:pt x="49" y="1013"/>
                        <a:pt x="44" y="1026"/>
                        <a:pt x="51" y="1034"/>
                      </a:cubicBezTo>
                      <a:cubicBezTo>
                        <a:pt x="58" y="1043"/>
                        <a:pt x="55" y="1044"/>
                        <a:pt x="53" y="1055"/>
                      </a:cubicBezTo>
                      <a:cubicBezTo>
                        <a:pt x="51" y="1066"/>
                        <a:pt x="41" y="1075"/>
                        <a:pt x="42" y="1085"/>
                      </a:cubicBezTo>
                      <a:cubicBezTo>
                        <a:pt x="55" y="1077"/>
                        <a:pt x="68" y="1099"/>
                        <a:pt x="57" y="1108"/>
                      </a:cubicBezTo>
                      <a:cubicBezTo>
                        <a:pt x="50" y="1114"/>
                        <a:pt x="65" y="1110"/>
                        <a:pt x="66" y="1110"/>
                      </a:cubicBezTo>
                      <a:cubicBezTo>
                        <a:pt x="68" y="1114"/>
                        <a:pt x="74" y="1129"/>
                        <a:pt x="77" y="1130"/>
                      </a:cubicBezTo>
                      <a:cubicBezTo>
                        <a:pt x="86" y="1133"/>
                        <a:pt x="76" y="1140"/>
                        <a:pt x="79" y="1145"/>
                      </a:cubicBezTo>
                      <a:cubicBezTo>
                        <a:pt x="81" y="1149"/>
                        <a:pt x="90" y="1159"/>
                        <a:pt x="94" y="1163"/>
                      </a:cubicBezTo>
                      <a:cubicBezTo>
                        <a:pt x="107" y="1175"/>
                        <a:pt x="107" y="1195"/>
                        <a:pt x="124" y="1207"/>
                      </a:cubicBezTo>
                      <a:cubicBezTo>
                        <a:pt x="132" y="1212"/>
                        <a:pt x="137" y="1219"/>
                        <a:pt x="137" y="1229"/>
                      </a:cubicBezTo>
                      <a:cubicBezTo>
                        <a:pt x="138" y="1248"/>
                        <a:pt x="145" y="1239"/>
                        <a:pt x="152" y="1250"/>
                      </a:cubicBezTo>
                      <a:cubicBezTo>
                        <a:pt x="155" y="1255"/>
                        <a:pt x="158" y="1273"/>
                        <a:pt x="158" y="1279"/>
                      </a:cubicBezTo>
                      <a:cubicBezTo>
                        <a:pt x="158" y="1285"/>
                        <a:pt x="148" y="1299"/>
                        <a:pt x="150" y="1303"/>
                      </a:cubicBezTo>
                      <a:cubicBezTo>
                        <a:pt x="151" y="1307"/>
                        <a:pt x="150" y="1321"/>
                        <a:pt x="148" y="1326"/>
                      </a:cubicBezTo>
                      <a:cubicBezTo>
                        <a:pt x="147" y="1329"/>
                        <a:pt x="153" y="1346"/>
                        <a:pt x="154" y="1350"/>
                      </a:cubicBezTo>
                      <a:cubicBezTo>
                        <a:pt x="158" y="1361"/>
                        <a:pt x="164" y="1369"/>
                        <a:pt x="166" y="1378"/>
                      </a:cubicBezTo>
                      <a:cubicBezTo>
                        <a:pt x="68" y="1235"/>
                        <a:pt x="15" y="1065"/>
                        <a:pt x="15" y="887"/>
                      </a:cubicBezTo>
                      <a:close/>
                      <a:moveTo>
                        <a:pt x="49" y="678"/>
                      </a:moveTo>
                      <a:cubicBezTo>
                        <a:pt x="45" y="675"/>
                        <a:pt x="45" y="668"/>
                        <a:pt x="45" y="661"/>
                      </a:cubicBezTo>
                      <a:cubicBezTo>
                        <a:pt x="47" y="653"/>
                        <a:pt x="49" y="645"/>
                        <a:pt x="51" y="638"/>
                      </a:cubicBezTo>
                      <a:cubicBezTo>
                        <a:pt x="56" y="647"/>
                        <a:pt x="54" y="671"/>
                        <a:pt x="49" y="678"/>
                      </a:cubicBezTo>
                      <a:close/>
                      <a:moveTo>
                        <a:pt x="54" y="706"/>
                      </a:moveTo>
                      <a:cubicBezTo>
                        <a:pt x="50" y="705"/>
                        <a:pt x="52" y="704"/>
                        <a:pt x="51" y="701"/>
                      </a:cubicBezTo>
                      <a:cubicBezTo>
                        <a:pt x="49" y="697"/>
                        <a:pt x="45" y="697"/>
                        <a:pt x="50" y="693"/>
                      </a:cubicBezTo>
                      <a:cubicBezTo>
                        <a:pt x="53" y="697"/>
                        <a:pt x="55" y="701"/>
                        <a:pt x="54" y="706"/>
                      </a:cubicBezTo>
                      <a:close/>
                      <a:moveTo>
                        <a:pt x="66" y="593"/>
                      </a:moveTo>
                      <a:cubicBezTo>
                        <a:pt x="64" y="603"/>
                        <a:pt x="61" y="613"/>
                        <a:pt x="57" y="620"/>
                      </a:cubicBezTo>
                      <a:cubicBezTo>
                        <a:pt x="60" y="611"/>
                        <a:pt x="62" y="602"/>
                        <a:pt x="66" y="593"/>
                      </a:cubicBezTo>
                      <a:close/>
                      <a:moveTo>
                        <a:pt x="295" y="458"/>
                      </a:moveTo>
                      <a:cubicBezTo>
                        <a:pt x="294" y="462"/>
                        <a:pt x="292" y="461"/>
                        <a:pt x="288" y="463"/>
                      </a:cubicBezTo>
                      <a:cubicBezTo>
                        <a:pt x="288" y="463"/>
                        <a:pt x="285" y="463"/>
                        <a:pt x="284" y="465"/>
                      </a:cubicBezTo>
                      <a:cubicBezTo>
                        <a:pt x="284" y="465"/>
                        <a:pt x="287" y="469"/>
                        <a:pt x="288" y="470"/>
                      </a:cubicBezTo>
                      <a:cubicBezTo>
                        <a:pt x="273" y="468"/>
                        <a:pt x="286" y="458"/>
                        <a:pt x="295" y="458"/>
                      </a:cubicBezTo>
                      <a:close/>
                      <a:moveTo>
                        <a:pt x="284" y="451"/>
                      </a:moveTo>
                      <a:cubicBezTo>
                        <a:pt x="285" y="446"/>
                        <a:pt x="284" y="441"/>
                        <a:pt x="285" y="436"/>
                      </a:cubicBezTo>
                      <a:cubicBezTo>
                        <a:pt x="290" y="442"/>
                        <a:pt x="292" y="449"/>
                        <a:pt x="284" y="451"/>
                      </a:cubicBezTo>
                      <a:close/>
                      <a:moveTo>
                        <a:pt x="311" y="463"/>
                      </a:moveTo>
                      <a:cubicBezTo>
                        <a:pt x="312" y="454"/>
                        <a:pt x="307" y="454"/>
                        <a:pt x="319" y="448"/>
                      </a:cubicBezTo>
                      <a:cubicBezTo>
                        <a:pt x="329" y="443"/>
                        <a:pt x="351" y="431"/>
                        <a:pt x="359" y="442"/>
                      </a:cubicBezTo>
                      <a:cubicBezTo>
                        <a:pt x="349" y="448"/>
                        <a:pt x="339" y="442"/>
                        <a:pt x="332" y="454"/>
                      </a:cubicBezTo>
                      <a:cubicBezTo>
                        <a:pt x="336" y="457"/>
                        <a:pt x="334" y="460"/>
                        <a:pt x="334" y="467"/>
                      </a:cubicBezTo>
                      <a:cubicBezTo>
                        <a:pt x="333" y="471"/>
                        <a:pt x="336" y="474"/>
                        <a:pt x="336" y="478"/>
                      </a:cubicBezTo>
                      <a:cubicBezTo>
                        <a:pt x="336" y="481"/>
                        <a:pt x="328" y="486"/>
                        <a:pt x="328" y="492"/>
                      </a:cubicBezTo>
                      <a:cubicBezTo>
                        <a:pt x="327" y="495"/>
                        <a:pt x="321" y="501"/>
                        <a:pt x="317" y="498"/>
                      </a:cubicBezTo>
                      <a:cubicBezTo>
                        <a:pt x="313" y="495"/>
                        <a:pt x="321" y="489"/>
                        <a:pt x="321" y="487"/>
                      </a:cubicBezTo>
                      <a:cubicBezTo>
                        <a:pt x="322" y="484"/>
                        <a:pt x="311" y="480"/>
                        <a:pt x="308" y="478"/>
                      </a:cubicBezTo>
                      <a:cubicBezTo>
                        <a:pt x="322" y="478"/>
                        <a:pt x="310" y="471"/>
                        <a:pt x="311" y="463"/>
                      </a:cubicBezTo>
                      <a:close/>
                      <a:moveTo>
                        <a:pt x="315" y="398"/>
                      </a:moveTo>
                      <a:cubicBezTo>
                        <a:pt x="325" y="409"/>
                        <a:pt x="312" y="425"/>
                        <a:pt x="315" y="398"/>
                      </a:cubicBezTo>
                      <a:close/>
                      <a:moveTo>
                        <a:pt x="1223" y="1616"/>
                      </a:moveTo>
                      <a:cubicBezTo>
                        <a:pt x="1223" y="1610"/>
                        <a:pt x="1223" y="1610"/>
                        <a:pt x="1223" y="1610"/>
                      </a:cubicBezTo>
                      <a:cubicBezTo>
                        <a:pt x="1231" y="1602"/>
                        <a:pt x="1231" y="1602"/>
                        <a:pt x="1231" y="1602"/>
                      </a:cubicBezTo>
                      <a:cubicBezTo>
                        <a:pt x="1234" y="1602"/>
                        <a:pt x="1234" y="1602"/>
                        <a:pt x="1234" y="1602"/>
                      </a:cubicBezTo>
                      <a:cubicBezTo>
                        <a:pt x="1236" y="1600"/>
                        <a:pt x="1238" y="1598"/>
                        <a:pt x="1240" y="1596"/>
                      </a:cubicBezTo>
                      <a:cubicBezTo>
                        <a:pt x="1240" y="1596"/>
                        <a:pt x="1240" y="1596"/>
                        <a:pt x="1240" y="1596"/>
                      </a:cubicBezTo>
                      <a:cubicBezTo>
                        <a:pt x="1248" y="1587"/>
                        <a:pt x="1247" y="1577"/>
                        <a:pt x="1249" y="1567"/>
                      </a:cubicBezTo>
                      <a:cubicBezTo>
                        <a:pt x="1249" y="1563"/>
                        <a:pt x="1249" y="1563"/>
                        <a:pt x="1249" y="1563"/>
                      </a:cubicBezTo>
                      <a:cubicBezTo>
                        <a:pt x="1253" y="1554"/>
                        <a:pt x="1253" y="1554"/>
                        <a:pt x="1253" y="1554"/>
                      </a:cubicBezTo>
                      <a:cubicBezTo>
                        <a:pt x="1255" y="1554"/>
                        <a:pt x="1255" y="1554"/>
                        <a:pt x="1255" y="1554"/>
                      </a:cubicBezTo>
                      <a:cubicBezTo>
                        <a:pt x="1260" y="1551"/>
                        <a:pt x="1270" y="1546"/>
                        <a:pt x="1277" y="1542"/>
                      </a:cubicBezTo>
                      <a:cubicBezTo>
                        <a:pt x="1279" y="1539"/>
                        <a:pt x="1279" y="1539"/>
                        <a:pt x="1279" y="1539"/>
                      </a:cubicBezTo>
                      <a:cubicBezTo>
                        <a:pt x="1282" y="1539"/>
                        <a:pt x="1282" y="1539"/>
                        <a:pt x="1282" y="1539"/>
                      </a:cubicBezTo>
                      <a:cubicBezTo>
                        <a:pt x="1286" y="1534"/>
                        <a:pt x="1286" y="1534"/>
                        <a:pt x="1286" y="1534"/>
                      </a:cubicBezTo>
                      <a:cubicBezTo>
                        <a:pt x="1297" y="1529"/>
                        <a:pt x="1297" y="1529"/>
                        <a:pt x="1297" y="1529"/>
                      </a:cubicBezTo>
                      <a:cubicBezTo>
                        <a:pt x="1297" y="1528"/>
                        <a:pt x="1297" y="1528"/>
                        <a:pt x="1297" y="1528"/>
                      </a:cubicBezTo>
                      <a:cubicBezTo>
                        <a:pt x="1298" y="1528"/>
                        <a:pt x="1299" y="1527"/>
                        <a:pt x="1299" y="1527"/>
                      </a:cubicBezTo>
                      <a:cubicBezTo>
                        <a:pt x="1299" y="1520"/>
                        <a:pt x="1299" y="1520"/>
                        <a:pt x="1299" y="1520"/>
                      </a:cubicBezTo>
                      <a:cubicBezTo>
                        <a:pt x="1302" y="1519"/>
                        <a:pt x="1302" y="1519"/>
                        <a:pt x="1302" y="1519"/>
                      </a:cubicBezTo>
                      <a:cubicBezTo>
                        <a:pt x="1303" y="1517"/>
                        <a:pt x="1305" y="1516"/>
                        <a:pt x="1309" y="1516"/>
                      </a:cubicBezTo>
                      <a:cubicBezTo>
                        <a:pt x="1309" y="1511"/>
                        <a:pt x="1309" y="1511"/>
                        <a:pt x="1309" y="1511"/>
                      </a:cubicBezTo>
                      <a:cubicBezTo>
                        <a:pt x="1310" y="1510"/>
                        <a:pt x="1310" y="1510"/>
                        <a:pt x="1310" y="1510"/>
                      </a:cubicBezTo>
                      <a:cubicBezTo>
                        <a:pt x="1310" y="1509"/>
                        <a:pt x="1311" y="1509"/>
                        <a:pt x="1313" y="1508"/>
                      </a:cubicBezTo>
                      <a:cubicBezTo>
                        <a:pt x="1316" y="1514"/>
                        <a:pt x="1316" y="1514"/>
                        <a:pt x="1316" y="1514"/>
                      </a:cubicBezTo>
                      <a:cubicBezTo>
                        <a:pt x="1316" y="1516"/>
                        <a:pt x="1316" y="1516"/>
                        <a:pt x="1316" y="1516"/>
                      </a:cubicBezTo>
                      <a:cubicBezTo>
                        <a:pt x="1318" y="1522"/>
                        <a:pt x="1319" y="1528"/>
                        <a:pt x="1319" y="1534"/>
                      </a:cubicBezTo>
                      <a:cubicBezTo>
                        <a:pt x="1319" y="1538"/>
                        <a:pt x="1319" y="1538"/>
                        <a:pt x="1319" y="1538"/>
                      </a:cubicBezTo>
                      <a:cubicBezTo>
                        <a:pt x="1318" y="1542"/>
                        <a:pt x="1318" y="1542"/>
                        <a:pt x="1318" y="1542"/>
                      </a:cubicBezTo>
                      <a:cubicBezTo>
                        <a:pt x="1313" y="1540"/>
                        <a:pt x="1311" y="1542"/>
                        <a:pt x="1308" y="1545"/>
                      </a:cubicBezTo>
                      <a:cubicBezTo>
                        <a:pt x="1304" y="1561"/>
                        <a:pt x="1304" y="1561"/>
                        <a:pt x="1304" y="1561"/>
                      </a:cubicBezTo>
                      <a:cubicBezTo>
                        <a:pt x="1300" y="1566"/>
                        <a:pt x="1300" y="1566"/>
                        <a:pt x="1300" y="1566"/>
                      </a:cubicBezTo>
                      <a:cubicBezTo>
                        <a:pt x="1298" y="1574"/>
                        <a:pt x="1298" y="1574"/>
                        <a:pt x="1298" y="1574"/>
                      </a:cubicBezTo>
                      <a:cubicBezTo>
                        <a:pt x="1294" y="1578"/>
                        <a:pt x="1294" y="1578"/>
                        <a:pt x="1294" y="1578"/>
                      </a:cubicBezTo>
                      <a:cubicBezTo>
                        <a:pt x="1291" y="1584"/>
                        <a:pt x="1288" y="1590"/>
                        <a:pt x="1284" y="1596"/>
                      </a:cubicBezTo>
                      <a:cubicBezTo>
                        <a:pt x="1284" y="1597"/>
                        <a:pt x="1284" y="1597"/>
                        <a:pt x="1284" y="1597"/>
                      </a:cubicBezTo>
                      <a:cubicBezTo>
                        <a:pt x="1279" y="1602"/>
                        <a:pt x="1279" y="1602"/>
                        <a:pt x="1279" y="1602"/>
                      </a:cubicBezTo>
                      <a:cubicBezTo>
                        <a:pt x="1279" y="1602"/>
                        <a:pt x="1279" y="1602"/>
                        <a:pt x="1279" y="1602"/>
                      </a:cubicBezTo>
                      <a:cubicBezTo>
                        <a:pt x="1278" y="1602"/>
                        <a:pt x="1278" y="1603"/>
                        <a:pt x="1278" y="1603"/>
                      </a:cubicBezTo>
                      <a:cubicBezTo>
                        <a:pt x="1277" y="1604"/>
                        <a:pt x="1277" y="1604"/>
                        <a:pt x="1277" y="1604"/>
                      </a:cubicBezTo>
                      <a:cubicBezTo>
                        <a:pt x="1277" y="1604"/>
                        <a:pt x="1277" y="1604"/>
                        <a:pt x="1277" y="1604"/>
                      </a:cubicBezTo>
                      <a:cubicBezTo>
                        <a:pt x="1272" y="1609"/>
                        <a:pt x="1267" y="1613"/>
                        <a:pt x="1262" y="1618"/>
                      </a:cubicBezTo>
                      <a:cubicBezTo>
                        <a:pt x="1259" y="1622"/>
                        <a:pt x="1259" y="1622"/>
                        <a:pt x="1259" y="1622"/>
                      </a:cubicBezTo>
                      <a:cubicBezTo>
                        <a:pt x="1245" y="1629"/>
                        <a:pt x="1245" y="1629"/>
                        <a:pt x="1245" y="1629"/>
                      </a:cubicBezTo>
                      <a:cubicBezTo>
                        <a:pt x="1244" y="1629"/>
                        <a:pt x="1244" y="1629"/>
                        <a:pt x="1244" y="1629"/>
                      </a:cubicBezTo>
                      <a:cubicBezTo>
                        <a:pt x="1240" y="1629"/>
                        <a:pt x="1235" y="1631"/>
                        <a:pt x="1233" y="1631"/>
                      </a:cubicBezTo>
                      <a:cubicBezTo>
                        <a:pt x="1232" y="1632"/>
                        <a:pt x="1232" y="1632"/>
                        <a:pt x="1232" y="1632"/>
                      </a:cubicBezTo>
                      <a:cubicBezTo>
                        <a:pt x="1227" y="1632"/>
                        <a:pt x="1227" y="1632"/>
                        <a:pt x="1227" y="1632"/>
                      </a:cubicBezTo>
                      <a:cubicBezTo>
                        <a:pt x="1220" y="1629"/>
                        <a:pt x="1220" y="1629"/>
                        <a:pt x="1220" y="1629"/>
                      </a:cubicBezTo>
                      <a:cubicBezTo>
                        <a:pt x="1223" y="1622"/>
                        <a:pt x="1223" y="1622"/>
                        <a:pt x="1223" y="1622"/>
                      </a:cubicBezTo>
                      <a:cubicBezTo>
                        <a:pt x="1222" y="1620"/>
                        <a:pt x="1222" y="1618"/>
                        <a:pt x="1223" y="1616"/>
                      </a:cubicBezTo>
                      <a:close/>
                      <a:moveTo>
                        <a:pt x="1356" y="1207"/>
                      </a:moveTo>
                      <a:cubicBezTo>
                        <a:pt x="1360" y="1205"/>
                        <a:pt x="1360" y="1205"/>
                        <a:pt x="1360" y="1205"/>
                      </a:cubicBezTo>
                      <a:cubicBezTo>
                        <a:pt x="1362" y="1205"/>
                        <a:pt x="1362" y="1205"/>
                        <a:pt x="1362" y="1205"/>
                      </a:cubicBezTo>
                      <a:cubicBezTo>
                        <a:pt x="1363" y="1205"/>
                        <a:pt x="1364" y="1205"/>
                        <a:pt x="1365" y="1206"/>
                      </a:cubicBezTo>
                      <a:cubicBezTo>
                        <a:pt x="1365" y="1206"/>
                        <a:pt x="1364" y="1207"/>
                        <a:pt x="1364" y="1208"/>
                      </a:cubicBezTo>
                      <a:cubicBezTo>
                        <a:pt x="1364" y="1208"/>
                        <a:pt x="1364" y="1208"/>
                        <a:pt x="1364" y="1208"/>
                      </a:cubicBezTo>
                      <a:cubicBezTo>
                        <a:pt x="1363" y="1208"/>
                        <a:pt x="1363" y="1208"/>
                        <a:pt x="1363" y="1208"/>
                      </a:cubicBezTo>
                      <a:cubicBezTo>
                        <a:pt x="1363" y="1209"/>
                        <a:pt x="1363" y="1209"/>
                        <a:pt x="1363" y="1209"/>
                      </a:cubicBezTo>
                      <a:cubicBezTo>
                        <a:pt x="1360" y="1211"/>
                        <a:pt x="1360" y="1211"/>
                        <a:pt x="1360" y="1211"/>
                      </a:cubicBezTo>
                      <a:cubicBezTo>
                        <a:pt x="1356" y="1210"/>
                        <a:pt x="1356" y="1210"/>
                        <a:pt x="1356" y="1210"/>
                      </a:cubicBezTo>
                      <a:lnTo>
                        <a:pt x="1356" y="1207"/>
                      </a:lnTo>
                      <a:close/>
                      <a:moveTo>
                        <a:pt x="1646" y="1064"/>
                      </a:moveTo>
                      <a:cubicBezTo>
                        <a:pt x="1643" y="1049"/>
                        <a:pt x="1643" y="1049"/>
                        <a:pt x="1643" y="1049"/>
                      </a:cubicBezTo>
                      <a:cubicBezTo>
                        <a:pt x="1647" y="1045"/>
                        <a:pt x="1647" y="1045"/>
                        <a:pt x="1647" y="1045"/>
                      </a:cubicBezTo>
                      <a:cubicBezTo>
                        <a:pt x="1648" y="1046"/>
                        <a:pt x="1648" y="1046"/>
                        <a:pt x="1648" y="1046"/>
                      </a:cubicBezTo>
                      <a:cubicBezTo>
                        <a:pt x="1650" y="1045"/>
                        <a:pt x="1652" y="1047"/>
                        <a:pt x="1656" y="1054"/>
                      </a:cubicBezTo>
                      <a:cubicBezTo>
                        <a:pt x="1657" y="1057"/>
                        <a:pt x="1658" y="1061"/>
                        <a:pt x="1660" y="1065"/>
                      </a:cubicBezTo>
                      <a:cubicBezTo>
                        <a:pt x="1663" y="1069"/>
                        <a:pt x="1663" y="1069"/>
                        <a:pt x="1663" y="1069"/>
                      </a:cubicBezTo>
                      <a:cubicBezTo>
                        <a:pt x="1662" y="1075"/>
                        <a:pt x="1662" y="1075"/>
                        <a:pt x="1662" y="1075"/>
                      </a:cubicBezTo>
                      <a:cubicBezTo>
                        <a:pt x="1662" y="1079"/>
                        <a:pt x="1662" y="1082"/>
                        <a:pt x="1660" y="1086"/>
                      </a:cubicBezTo>
                      <a:cubicBezTo>
                        <a:pt x="1660" y="1086"/>
                        <a:pt x="1660" y="1086"/>
                        <a:pt x="1660" y="1086"/>
                      </a:cubicBezTo>
                      <a:cubicBezTo>
                        <a:pt x="1659" y="1087"/>
                        <a:pt x="1659" y="1087"/>
                        <a:pt x="1659" y="1087"/>
                      </a:cubicBezTo>
                      <a:cubicBezTo>
                        <a:pt x="1658" y="1089"/>
                        <a:pt x="1656" y="1091"/>
                        <a:pt x="1654" y="1093"/>
                      </a:cubicBezTo>
                      <a:cubicBezTo>
                        <a:pt x="1652" y="1091"/>
                        <a:pt x="1650" y="1088"/>
                        <a:pt x="1649" y="1086"/>
                      </a:cubicBezTo>
                      <a:cubicBezTo>
                        <a:pt x="1645" y="1079"/>
                        <a:pt x="1645" y="1079"/>
                        <a:pt x="1645" y="1079"/>
                      </a:cubicBezTo>
                      <a:cubicBezTo>
                        <a:pt x="1643" y="1072"/>
                        <a:pt x="1643" y="1072"/>
                        <a:pt x="1643" y="1072"/>
                      </a:cubicBezTo>
                      <a:cubicBezTo>
                        <a:pt x="1647" y="1067"/>
                        <a:pt x="1647" y="1067"/>
                        <a:pt x="1647" y="1067"/>
                      </a:cubicBezTo>
                      <a:cubicBezTo>
                        <a:pt x="1647" y="1066"/>
                        <a:pt x="1646" y="1065"/>
                        <a:pt x="1646" y="1064"/>
                      </a:cubicBezTo>
                      <a:close/>
                      <a:moveTo>
                        <a:pt x="1748" y="897"/>
                      </a:moveTo>
                      <a:cubicBezTo>
                        <a:pt x="1748" y="897"/>
                        <a:pt x="1748" y="897"/>
                        <a:pt x="1748" y="897"/>
                      </a:cubicBezTo>
                      <a:cubicBezTo>
                        <a:pt x="1746" y="894"/>
                        <a:pt x="1746" y="894"/>
                        <a:pt x="1746" y="894"/>
                      </a:cubicBezTo>
                      <a:cubicBezTo>
                        <a:pt x="1745" y="890"/>
                        <a:pt x="1745" y="890"/>
                        <a:pt x="1745" y="890"/>
                      </a:cubicBezTo>
                      <a:cubicBezTo>
                        <a:pt x="1742" y="882"/>
                        <a:pt x="1740" y="874"/>
                        <a:pt x="1738" y="869"/>
                      </a:cubicBezTo>
                      <a:cubicBezTo>
                        <a:pt x="1736" y="862"/>
                        <a:pt x="1733" y="855"/>
                        <a:pt x="1730" y="848"/>
                      </a:cubicBezTo>
                      <a:cubicBezTo>
                        <a:pt x="1729" y="846"/>
                        <a:pt x="1729" y="846"/>
                        <a:pt x="1729" y="846"/>
                      </a:cubicBezTo>
                      <a:cubicBezTo>
                        <a:pt x="1729" y="844"/>
                        <a:pt x="1729" y="844"/>
                        <a:pt x="1729" y="844"/>
                      </a:cubicBezTo>
                      <a:cubicBezTo>
                        <a:pt x="1726" y="837"/>
                        <a:pt x="1723" y="829"/>
                        <a:pt x="1720" y="822"/>
                      </a:cubicBezTo>
                      <a:cubicBezTo>
                        <a:pt x="1718" y="820"/>
                        <a:pt x="1718" y="820"/>
                        <a:pt x="1718" y="820"/>
                      </a:cubicBezTo>
                      <a:cubicBezTo>
                        <a:pt x="1715" y="809"/>
                        <a:pt x="1715" y="809"/>
                        <a:pt x="1715" y="809"/>
                      </a:cubicBezTo>
                      <a:cubicBezTo>
                        <a:pt x="1712" y="801"/>
                        <a:pt x="1712" y="801"/>
                        <a:pt x="1712" y="801"/>
                      </a:cubicBezTo>
                      <a:cubicBezTo>
                        <a:pt x="1713" y="806"/>
                        <a:pt x="1713" y="809"/>
                        <a:pt x="1713" y="813"/>
                      </a:cubicBezTo>
                      <a:cubicBezTo>
                        <a:pt x="1713" y="816"/>
                        <a:pt x="1713" y="816"/>
                        <a:pt x="1713" y="816"/>
                      </a:cubicBezTo>
                      <a:cubicBezTo>
                        <a:pt x="1712" y="816"/>
                        <a:pt x="1712" y="816"/>
                        <a:pt x="1712" y="816"/>
                      </a:cubicBezTo>
                      <a:cubicBezTo>
                        <a:pt x="1712" y="818"/>
                        <a:pt x="1712" y="820"/>
                        <a:pt x="1711" y="822"/>
                      </a:cubicBezTo>
                      <a:cubicBezTo>
                        <a:pt x="1712" y="823"/>
                        <a:pt x="1712" y="823"/>
                        <a:pt x="1712" y="823"/>
                      </a:cubicBezTo>
                      <a:cubicBezTo>
                        <a:pt x="1711" y="829"/>
                        <a:pt x="1711" y="829"/>
                        <a:pt x="1711" y="829"/>
                      </a:cubicBezTo>
                      <a:cubicBezTo>
                        <a:pt x="1709" y="829"/>
                        <a:pt x="1709" y="829"/>
                        <a:pt x="1709" y="829"/>
                      </a:cubicBezTo>
                      <a:cubicBezTo>
                        <a:pt x="1709" y="830"/>
                        <a:pt x="1709" y="831"/>
                        <a:pt x="1709" y="831"/>
                      </a:cubicBezTo>
                      <a:cubicBezTo>
                        <a:pt x="1709" y="834"/>
                        <a:pt x="1709" y="834"/>
                        <a:pt x="1709" y="834"/>
                      </a:cubicBezTo>
                      <a:cubicBezTo>
                        <a:pt x="1707" y="836"/>
                        <a:pt x="1707" y="836"/>
                        <a:pt x="1707" y="836"/>
                      </a:cubicBezTo>
                      <a:cubicBezTo>
                        <a:pt x="1706" y="838"/>
                        <a:pt x="1706" y="839"/>
                        <a:pt x="1705" y="841"/>
                      </a:cubicBezTo>
                      <a:cubicBezTo>
                        <a:pt x="1702" y="840"/>
                        <a:pt x="1702" y="840"/>
                        <a:pt x="1702" y="840"/>
                      </a:cubicBezTo>
                      <a:cubicBezTo>
                        <a:pt x="1701" y="837"/>
                        <a:pt x="1701" y="837"/>
                        <a:pt x="1701" y="837"/>
                      </a:cubicBezTo>
                      <a:cubicBezTo>
                        <a:pt x="1695" y="831"/>
                        <a:pt x="1691" y="817"/>
                        <a:pt x="1684" y="808"/>
                      </a:cubicBezTo>
                      <a:cubicBezTo>
                        <a:pt x="1680" y="804"/>
                        <a:pt x="1680" y="804"/>
                        <a:pt x="1680" y="804"/>
                      </a:cubicBezTo>
                      <a:cubicBezTo>
                        <a:pt x="1676" y="803"/>
                        <a:pt x="1676" y="803"/>
                        <a:pt x="1676" y="803"/>
                      </a:cubicBezTo>
                      <a:cubicBezTo>
                        <a:pt x="1674" y="798"/>
                        <a:pt x="1674" y="798"/>
                        <a:pt x="1674" y="798"/>
                      </a:cubicBezTo>
                      <a:cubicBezTo>
                        <a:pt x="1674" y="798"/>
                        <a:pt x="1673" y="798"/>
                        <a:pt x="1673" y="798"/>
                      </a:cubicBezTo>
                      <a:cubicBezTo>
                        <a:pt x="1661" y="797"/>
                        <a:pt x="1661" y="797"/>
                        <a:pt x="1661" y="797"/>
                      </a:cubicBezTo>
                      <a:cubicBezTo>
                        <a:pt x="1662" y="800"/>
                        <a:pt x="1663" y="802"/>
                        <a:pt x="1664" y="805"/>
                      </a:cubicBezTo>
                      <a:cubicBezTo>
                        <a:pt x="1666" y="807"/>
                        <a:pt x="1666" y="807"/>
                        <a:pt x="1666" y="807"/>
                      </a:cubicBezTo>
                      <a:cubicBezTo>
                        <a:pt x="1665" y="817"/>
                        <a:pt x="1665" y="817"/>
                        <a:pt x="1665" y="817"/>
                      </a:cubicBezTo>
                      <a:cubicBezTo>
                        <a:pt x="1664" y="817"/>
                        <a:pt x="1664" y="817"/>
                        <a:pt x="1664" y="817"/>
                      </a:cubicBezTo>
                      <a:cubicBezTo>
                        <a:pt x="1664" y="819"/>
                        <a:pt x="1663" y="822"/>
                        <a:pt x="1662" y="824"/>
                      </a:cubicBezTo>
                      <a:cubicBezTo>
                        <a:pt x="1662" y="824"/>
                        <a:pt x="1662" y="824"/>
                        <a:pt x="1662" y="824"/>
                      </a:cubicBezTo>
                      <a:cubicBezTo>
                        <a:pt x="1660" y="827"/>
                        <a:pt x="1660" y="827"/>
                        <a:pt x="1660" y="827"/>
                      </a:cubicBezTo>
                      <a:cubicBezTo>
                        <a:pt x="1659" y="827"/>
                        <a:pt x="1659" y="827"/>
                        <a:pt x="1659" y="827"/>
                      </a:cubicBezTo>
                      <a:cubicBezTo>
                        <a:pt x="1657" y="829"/>
                        <a:pt x="1653" y="831"/>
                        <a:pt x="1649" y="833"/>
                      </a:cubicBezTo>
                      <a:cubicBezTo>
                        <a:pt x="1642" y="841"/>
                        <a:pt x="1642" y="841"/>
                        <a:pt x="1642" y="841"/>
                      </a:cubicBezTo>
                      <a:cubicBezTo>
                        <a:pt x="1642" y="841"/>
                        <a:pt x="1642" y="841"/>
                        <a:pt x="1642" y="841"/>
                      </a:cubicBezTo>
                      <a:cubicBezTo>
                        <a:pt x="1643" y="845"/>
                        <a:pt x="1643" y="845"/>
                        <a:pt x="1643" y="845"/>
                      </a:cubicBezTo>
                      <a:cubicBezTo>
                        <a:pt x="1644" y="846"/>
                        <a:pt x="1645" y="847"/>
                        <a:pt x="1647" y="848"/>
                      </a:cubicBezTo>
                      <a:cubicBezTo>
                        <a:pt x="1651" y="850"/>
                        <a:pt x="1651" y="850"/>
                        <a:pt x="1651" y="850"/>
                      </a:cubicBezTo>
                      <a:cubicBezTo>
                        <a:pt x="1652" y="854"/>
                        <a:pt x="1652" y="854"/>
                        <a:pt x="1652" y="854"/>
                      </a:cubicBezTo>
                      <a:cubicBezTo>
                        <a:pt x="1649" y="860"/>
                        <a:pt x="1649" y="860"/>
                        <a:pt x="1649" y="860"/>
                      </a:cubicBezTo>
                      <a:cubicBezTo>
                        <a:pt x="1648" y="862"/>
                        <a:pt x="1648" y="864"/>
                        <a:pt x="1648" y="866"/>
                      </a:cubicBezTo>
                      <a:cubicBezTo>
                        <a:pt x="1648" y="868"/>
                        <a:pt x="1648" y="868"/>
                        <a:pt x="1648" y="868"/>
                      </a:cubicBezTo>
                      <a:cubicBezTo>
                        <a:pt x="1647" y="869"/>
                        <a:pt x="1647" y="869"/>
                        <a:pt x="1647" y="869"/>
                      </a:cubicBezTo>
                      <a:cubicBezTo>
                        <a:pt x="1645" y="880"/>
                        <a:pt x="1641" y="894"/>
                        <a:pt x="1639" y="903"/>
                      </a:cubicBezTo>
                      <a:cubicBezTo>
                        <a:pt x="1639" y="909"/>
                        <a:pt x="1639" y="909"/>
                        <a:pt x="1639" y="909"/>
                      </a:cubicBezTo>
                      <a:cubicBezTo>
                        <a:pt x="1639" y="911"/>
                        <a:pt x="1639" y="913"/>
                        <a:pt x="1639" y="915"/>
                      </a:cubicBezTo>
                      <a:cubicBezTo>
                        <a:pt x="1639" y="915"/>
                        <a:pt x="1639" y="915"/>
                        <a:pt x="1639" y="915"/>
                      </a:cubicBezTo>
                      <a:cubicBezTo>
                        <a:pt x="1640" y="922"/>
                        <a:pt x="1640" y="922"/>
                        <a:pt x="1640" y="922"/>
                      </a:cubicBezTo>
                      <a:cubicBezTo>
                        <a:pt x="1641" y="939"/>
                        <a:pt x="1641" y="939"/>
                        <a:pt x="1641" y="939"/>
                      </a:cubicBezTo>
                      <a:cubicBezTo>
                        <a:pt x="1639" y="944"/>
                        <a:pt x="1639" y="944"/>
                        <a:pt x="1639" y="944"/>
                      </a:cubicBezTo>
                      <a:cubicBezTo>
                        <a:pt x="1638" y="948"/>
                        <a:pt x="1638" y="948"/>
                        <a:pt x="1638" y="948"/>
                      </a:cubicBezTo>
                      <a:cubicBezTo>
                        <a:pt x="1636" y="949"/>
                        <a:pt x="1636" y="949"/>
                        <a:pt x="1636" y="949"/>
                      </a:cubicBezTo>
                      <a:cubicBezTo>
                        <a:pt x="1632" y="958"/>
                        <a:pt x="1629" y="968"/>
                        <a:pt x="1630" y="981"/>
                      </a:cubicBezTo>
                      <a:cubicBezTo>
                        <a:pt x="1631" y="987"/>
                        <a:pt x="1631" y="987"/>
                        <a:pt x="1631" y="987"/>
                      </a:cubicBezTo>
                      <a:cubicBezTo>
                        <a:pt x="1635" y="988"/>
                        <a:pt x="1635" y="988"/>
                        <a:pt x="1635" y="988"/>
                      </a:cubicBezTo>
                      <a:cubicBezTo>
                        <a:pt x="1637" y="992"/>
                        <a:pt x="1637" y="992"/>
                        <a:pt x="1637" y="992"/>
                      </a:cubicBezTo>
                      <a:cubicBezTo>
                        <a:pt x="1635" y="996"/>
                        <a:pt x="1635" y="996"/>
                        <a:pt x="1635" y="996"/>
                      </a:cubicBezTo>
                      <a:cubicBezTo>
                        <a:pt x="1636" y="998"/>
                        <a:pt x="1637" y="1000"/>
                        <a:pt x="1638" y="1002"/>
                      </a:cubicBezTo>
                      <a:cubicBezTo>
                        <a:pt x="1638" y="1002"/>
                        <a:pt x="1638" y="1002"/>
                        <a:pt x="1638" y="1002"/>
                      </a:cubicBezTo>
                      <a:cubicBezTo>
                        <a:pt x="1639" y="1009"/>
                        <a:pt x="1639" y="1009"/>
                        <a:pt x="1639" y="1009"/>
                      </a:cubicBezTo>
                      <a:cubicBezTo>
                        <a:pt x="1638" y="1012"/>
                        <a:pt x="1638" y="1012"/>
                        <a:pt x="1638" y="1012"/>
                      </a:cubicBezTo>
                      <a:cubicBezTo>
                        <a:pt x="1638" y="1012"/>
                        <a:pt x="1638" y="1012"/>
                        <a:pt x="1638" y="1012"/>
                      </a:cubicBezTo>
                      <a:cubicBezTo>
                        <a:pt x="1637" y="1020"/>
                        <a:pt x="1639" y="1033"/>
                        <a:pt x="1638" y="1043"/>
                      </a:cubicBezTo>
                      <a:cubicBezTo>
                        <a:pt x="1639" y="1047"/>
                        <a:pt x="1639" y="1047"/>
                        <a:pt x="1639" y="1047"/>
                      </a:cubicBezTo>
                      <a:cubicBezTo>
                        <a:pt x="1636" y="1051"/>
                        <a:pt x="1636" y="1051"/>
                        <a:pt x="1636" y="1051"/>
                      </a:cubicBezTo>
                      <a:cubicBezTo>
                        <a:pt x="1634" y="1055"/>
                        <a:pt x="1633" y="1058"/>
                        <a:pt x="1633" y="1061"/>
                      </a:cubicBezTo>
                      <a:cubicBezTo>
                        <a:pt x="1636" y="1065"/>
                        <a:pt x="1636" y="1065"/>
                        <a:pt x="1636" y="1065"/>
                      </a:cubicBezTo>
                      <a:cubicBezTo>
                        <a:pt x="1634" y="1070"/>
                        <a:pt x="1634" y="1070"/>
                        <a:pt x="1634" y="1070"/>
                      </a:cubicBezTo>
                      <a:cubicBezTo>
                        <a:pt x="1631" y="1080"/>
                        <a:pt x="1631" y="1080"/>
                        <a:pt x="1631" y="1080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7" y="1085"/>
                        <a:pt x="1627" y="1085"/>
                        <a:pt x="1627" y="1085"/>
                      </a:cubicBezTo>
                      <a:cubicBezTo>
                        <a:pt x="1625" y="1087"/>
                        <a:pt x="1625" y="1087"/>
                        <a:pt x="1625" y="1087"/>
                      </a:cubicBezTo>
                      <a:cubicBezTo>
                        <a:pt x="1624" y="1087"/>
                        <a:pt x="1624" y="1087"/>
                        <a:pt x="1624" y="1087"/>
                      </a:cubicBezTo>
                      <a:cubicBezTo>
                        <a:pt x="1623" y="1087"/>
                        <a:pt x="1622" y="1087"/>
                        <a:pt x="1621" y="1086"/>
                      </a:cubicBezTo>
                      <a:cubicBezTo>
                        <a:pt x="1619" y="1086"/>
                        <a:pt x="1619" y="1086"/>
                        <a:pt x="1619" y="1086"/>
                      </a:cubicBezTo>
                      <a:cubicBezTo>
                        <a:pt x="1617" y="1083"/>
                        <a:pt x="1617" y="1083"/>
                        <a:pt x="1617" y="1083"/>
                      </a:cubicBezTo>
                      <a:cubicBezTo>
                        <a:pt x="1614" y="1079"/>
                        <a:pt x="1611" y="1073"/>
                        <a:pt x="1609" y="1069"/>
                      </a:cubicBezTo>
                      <a:cubicBezTo>
                        <a:pt x="1607" y="1066"/>
                        <a:pt x="1607" y="1066"/>
                        <a:pt x="1607" y="1066"/>
                      </a:cubicBezTo>
                      <a:cubicBezTo>
                        <a:pt x="1603" y="1062"/>
                        <a:pt x="1603" y="1062"/>
                        <a:pt x="1603" y="1062"/>
                      </a:cubicBezTo>
                      <a:cubicBezTo>
                        <a:pt x="1598" y="1056"/>
                        <a:pt x="1598" y="1056"/>
                        <a:pt x="1598" y="1056"/>
                      </a:cubicBezTo>
                      <a:cubicBezTo>
                        <a:pt x="1592" y="1054"/>
                        <a:pt x="1592" y="1054"/>
                        <a:pt x="1592" y="1054"/>
                      </a:cubicBezTo>
                      <a:cubicBezTo>
                        <a:pt x="1590" y="1050"/>
                        <a:pt x="1590" y="1050"/>
                        <a:pt x="1590" y="1050"/>
                      </a:cubicBezTo>
                      <a:cubicBezTo>
                        <a:pt x="1589" y="1044"/>
                        <a:pt x="1589" y="1044"/>
                        <a:pt x="1589" y="1044"/>
                      </a:cubicBezTo>
                      <a:cubicBezTo>
                        <a:pt x="1588" y="1043"/>
                        <a:pt x="1587" y="1042"/>
                        <a:pt x="1586" y="1041"/>
                      </a:cubicBezTo>
                      <a:cubicBezTo>
                        <a:pt x="1583" y="1038"/>
                        <a:pt x="1583" y="1038"/>
                        <a:pt x="1583" y="1038"/>
                      </a:cubicBezTo>
                      <a:cubicBezTo>
                        <a:pt x="1583" y="1037"/>
                        <a:pt x="1583" y="1037"/>
                        <a:pt x="1583" y="1037"/>
                      </a:cubicBezTo>
                      <a:cubicBezTo>
                        <a:pt x="1581" y="1034"/>
                        <a:pt x="1580" y="1031"/>
                        <a:pt x="1579" y="1028"/>
                      </a:cubicBezTo>
                      <a:cubicBezTo>
                        <a:pt x="1578" y="1028"/>
                        <a:pt x="1578" y="1028"/>
                        <a:pt x="1578" y="1028"/>
                      </a:cubicBezTo>
                      <a:cubicBezTo>
                        <a:pt x="1576" y="1027"/>
                        <a:pt x="1576" y="1027"/>
                        <a:pt x="1576" y="1027"/>
                      </a:cubicBezTo>
                      <a:cubicBezTo>
                        <a:pt x="1575" y="1017"/>
                        <a:pt x="1575" y="1017"/>
                        <a:pt x="1575" y="1017"/>
                      </a:cubicBezTo>
                      <a:cubicBezTo>
                        <a:pt x="1574" y="1016"/>
                        <a:pt x="1574" y="1015"/>
                        <a:pt x="1573" y="1014"/>
                      </a:cubicBezTo>
                      <a:cubicBezTo>
                        <a:pt x="1573" y="1014"/>
                        <a:pt x="1573" y="1014"/>
                        <a:pt x="1573" y="1014"/>
                      </a:cubicBezTo>
                      <a:cubicBezTo>
                        <a:pt x="1571" y="1012"/>
                        <a:pt x="1571" y="1012"/>
                        <a:pt x="1571" y="1012"/>
                      </a:cubicBezTo>
                      <a:cubicBezTo>
                        <a:pt x="1564" y="1001"/>
                        <a:pt x="1564" y="1001"/>
                        <a:pt x="1564" y="1001"/>
                      </a:cubicBezTo>
                      <a:cubicBezTo>
                        <a:pt x="1564" y="997"/>
                        <a:pt x="1564" y="997"/>
                        <a:pt x="1564" y="997"/>
                      </a:cubicBezTo>
                      <a:cubicBezTo>
                        <a:pt x="1564" y="997"/>
                        <a:pt x="1564" y="997"/>
                        <a:pt x="1564" y="996"/>
                      </a:cubicBezTo>
                      <a:cubicBezTo>
                        <a:pt x="1559" y="991"/>
                        <a:pt x="1559" y="991"/>
                        <a:pt x="1559" y="991"/>
                      </a:cubicBezTo>
                      <a:cubicBezTo>
                        <a:pt x="1557" y="984"/>
                        <a:pt x="1557" y="984"/>
                        <a:pt x="1557" y="984"/>
                      </a:cubicBezTo>
                      <a:cubicBezTo>
                        <a:pt x="1551" y="972"/>
                        <a:pt x="1551" y="972"/>
                        <a:pt x="1551" y="972"/>
                      </a:cubicBezTo>
                      <a:cubicBezTo>
                        <a:pt x="1549" y="965"/>
                        <a:pt x="1549" y="965"/>
                        <a:pt x="1549" y="965"/>
                      </a:cubicBezTo>
                      <a:cubicBezTo>
                        <a:pt x="1549" y="964"/>
                        <a:pt x="1548" y="964"/>
                        <a:pt x="1548" y="963"/>
                      </a:cubicBezTo>
                      <a:cubicBezTo>
                        <a:pt x="1545" y="961"/>
                        <a:pt x="1545" y="961"/>
                        <a:pt x="1545" y="961"/>
                      </a:cubicBezTo>
                      <a:cubicBezTo>
                        <a:pt x="1545" y="958"/>
                        <a:pt x="1545" y="958"/>
                        <a:pt x="1545" y="958"/>
                      </a:cubicBezTo>
                      <a:cubicBezTo>
                        <a:pt x="1543" y="953"/>
                        <a:pt x="1541" y="949"/>
                        <a:pt x="1540" y="949"/>
                      </a:cubicBezTo>
                      <a:cubicBezTo>
                        <a:pt x="1539" y="949"/>
                        <a:pt x="1539" y="949"/>
                        <a:pt x="1539" y="949"/>
                      </a:cubicBezTo>
                      <a:cubicBezTo>
                        <a:pt x="1537" y="952"/>
                        <a:pt x="1537" y="952"/>
                        <a:pt x="1537" y="952"/>
                      </a:cubicBezTo>
                      <a:cubicBezTo>
                        <a:pt x="1539" y="970"/>
                        <a:pt x="1539" y="970"/>
                        <a:pt x="1539" y="970"/>
                      </a:cubicBezTo>
                      <a:cubicBezTo>
                        <a:pt x="1537" y="972"/>
                        <a:pt x="1537" y="972"/>
                        <a:pt x="1537" y="972"/>
                      </a:cubicBezTo>
                      <a:cubicBezTo>
                        <a:pt x="1537" y="976"/>
                        <a:pt x="1536" y="980"/>
                        <a:pt x="1532" y="982"/>
                      </a:cubicBezTo>
                      <a:cubicBezTo>
                        <a:pt x="1532" y="982"/>
                        <a:pt x="1532" y="982"/>
                        <a:pt x="1532" y="982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9" y="983"/>
                        <a:pt x="1529" y="983"/>
                        <a:pt x="1529" y="983"/>
                      </a:cubicBezTo>
                      <a:cubicBezTo>
                        <a:pt x="1526" y="983"/>
                        <a:pt x="1526" y="983"/>
                        <a:pt x="1526" y="983"/>
                      </a:cubicBezTo>
                      <a:cubicBezTo>
                        <a:pt x="1526" y="983"/>
                        <a:pt x="1526" y="983"/>
                        <a:pt x="1526" y="983"/>
                      </a:cubicBezTo>
                      <a:cubicBezTo>
                        <a:pt x="1520" y="982"/>
                        <a:pt x="1517" y="978"/>
                        <a:pt x="1516" y="973"/>
                      </a:cubicBezTo>
                      <a:cubicBezTo>
                        <a:pt x="1512" y="971"/>
                        <a:pt x="1512" y="971"/>
                        <a:pt x="1512" y="971"/>
                      </a:cubicBezTo>
                      <a:cubicBezTo>
                        <a:pt x="1516" y="964"/>
                        <a:pt x="1516" y="964"/>
                        <a:pt x="1516" y="964"/>
                      </a:cubicBezTo>
                      <a:cubicBezTo>
                        <a:pt x="1517" y="961"/>
                        <a:pt x="1517" y="959"/>
                        <a:pt x="1518" y="957"/>
                      </a:cubicBezTo>
                      <a:cubicBezTo>
                        <a:pt x="1517" y="958"/>
                        <a:pt x="1515" y="959"/>
                        <a:pt x="1513" y="959"/>
                      </a:cubicBezTo>
                      <a:cubicBezTo>
                        <a:pt x="1510" y="962"/>
                        <a:pt x="1510" y="962"/>
                        <a:pt x="1510" y="962"/>
                      </a:cubicBezTo>
                      <a:cubicBezTo>
                        <a:pt x="1503" y="960"/>
                        <a:pt x="1503" y="960"/>
                        <a:pt x="1503" y="960"/>
                      </a:cubicBezTo>
                      <a:cubicBezTo>
                        <a:pt x="1503" y="960"/>
                        <a:pt x="1503" y="960"/>
                        <a:pt x="1503" y="960"/>
                      </a:cubicBezTo>
                      <a:cubicBezTo>
                        <a:pt x="1498" y="959"/>
                        <a:pt x="1494" y="957"/>
                        <a:pt x="1490" y="955"/>
                      </a:cubicBezTo>
                      <a:cubicBezTo>
                        <a:pt x="1485" y="955"/>
                        <a:pt x="1485" y="955"/>
                        <a:pt x="1485" y="955"/>
                      </a:cubicBezTo>
                      <a:cubicBezTo>
                        <a:pt x="1483" y="951"/>
                        <a:pt x="1483" y="951"/>
                        <a:pt x="1483" y="951"/>
                      </a:cubicBezTo>
                      <a:cubicBezTo>
                        <a:pt x="1482" y="950"/>
                        <a:pt x="1482" y="950"/>
                        <a:pt x="1482" y="950"/>
                      </a:cubicBezTo>
                      <a:cubicBezTo>
                        <a:pt x="1482" y="950"/>
                        <a:pt x="1482" y="950"/>
                        <a:pt x="1482" y="950"/>
                      </a:cubicBezTo>
                      <a:cubicBezTo>
                        <a:pt x="1481" y="949"/>
                        <a:pt x="1481" y="949"/>
                        <a:pt x="1480" y="948"/>
                      </a:cubicBezTo>
                      <a:cubicBezTo>
                        <a:pt x="1474" y="949"/>
                        <a:pt x="1474" y="949"/>
                        <a:pt x="1474" y="949"/>
                      </a:cubicBezTo>
                      <a:cubicBezTo>
                        <a:pt x="1474" y="945"/>
                        <a:pt x="1474" y="945"/>
                        <a:pt x="1474" y="945"/>
                      </a:cubicBezTo>
                      <a:cubicBezTo>
                        <a:pt x="1467" y="944"/>
                        <a:pt x="1463" y="952"/>
                        <a:pt x="1455" y="955"/>
                      </a:cubicBezTo>
                      <a:cubicBezTo>
                        <a:pt x="1455" y="956"/>
                        <a:pt x="1455" y="956"/>
                        <a:pt x="1455" y="956"/>
                      </a:cubicBezTo>
                      <a:cubicBezTo>
                        <a:pt x="1453" y="956"/>
                        <a:pt x="1453" y="956"/>
                        <a:pt x="1453" y="956"/>
                      </a:cubicBezTo>
                      <a:cubicBezTo>
                        <a:pt x="1453" y="956"/>
                        <a:pt x="1453" y="956"/>
                        <a:pt x="1453" y="956"/>
                      </a:cubicBezTo>
                      <a:cubicBezTo>
                        <a:pt x="1452" y="957"/>
                        <a:pt x="1451" y="957"/>
                        <a:pt x="1450" y="957"/>
                      </a:cubicBezTo>
                      <a:cubicBezTo>
                        <a:pt x="1441" y="964"/>
                        <a:pt x="1441" y="964"/>
                        <a:pt x="1441" y="964"/>
                      </a:cubicBezTo>
                      <a:cubicBezTo>
                        <a:pt x="1430" y="969"/>
                        <a:pt x="1430" y="969"/>
                        <a:pt x="1430" y="969"/>
                      </a:cubicBezTo>
                      <a:cubicBezTo>
                        <a:pt x="1429" y="972"/>
                        <a:pt x="1429" y="972"/>
                        <a:pt x="1429" y="972"/>
                      </a:cubicBezTo>
                      <a:cubicBezTo>
                        <a:pt x="1429" y="973"/>
                        <a:pt x="1429" y="973"/>
                        <a:pt x="1429" y="973"/>
                      </a:cubicBezTo>
                      <a:cubicBezTo>
                        <a:pt x="1429" y="974"/>
                        <a:pt x="1428" y="976"/>
                        <a:pt x="1427" y="976"/>
                      </a:cubicBezTo>
                      <a:cubicBezTo>
                        <a:pt x="1424" y="978"/>
                        <a:pt x="1421" y="975"/>
                        <a:pt x="1418" y="978"/>
                      </a:cubicBezTo>
                      <a:cubicBezTo>
                        <a:pt x="1416" y="979"/>
                        <a:pt x="1416" y="979"/>
                        <a:pt x="1416" y="979"/>
                      </a:cubicBezTo>
                      <a:cubicBezTo>
                        <a:pt x="1415" y="979"/>
                        <a:pt x="1415" y="979"/>
                        <a:pt x="1415" y="979"/>
                      </a:cubicBezTo>
                      <a:cubicBezTo>
                        <a:pt x="1409" y="983"/>
                        <a:pt x="1401" y="984"/>
                        <a:pt x="1393" y="986"/>
                      </a:cubicBezTo>
                      <a:cubicBezTo>
                        <a:pt x="1391" y="988"/>
                        <a:pt x="1391" y="988"/>
                        <a:pt x="1391" y="988"/>
                      </a:cubicBezTo>
                      <a:cubicBezTo>
                        <a:pt x="1383" y="989"/>
                        <a:pt x="1383" y="989"/>
                        <a:pt x="1383" y="989"/>
                      </a:cubicBezTo>
                      <a:cubicBezTo>
                        <a:pt x="1380" y="989"/>
                        <a:pt x="1376" y="991"/>
                        <a:pt x="1373" y="992"/>
                      </a:cubicBezTo>
                      <a:cubicBezTo>
                        <a:pt x="1370" y="994"/>
                        <a:pt x="1370" y="994"/>
                        <a:pt x="1370" y="994"/>
                      </a:cubicBezTo>
                      <a:cubicBezTo>
                        <a:pt x="1367" y="993"/>
                        <a:pt x="1367" y="993"/>
                        <a:pt x="1367" y="993"/>
                      </a:cubicBezTo>
                      <a:cubicBezTo>
                        <a:pt x="1367" y="992"/>
                        <a:pt x="1367" y="992"/>
                        <a:pt x="1367" y="992"/>
                      </a:cubicBezTo>
                      <a:cubicBezTo>
                        <a:pt x="1365" y="990"/>
                        <a:pt x="1363" y="986"/>
                        <a:pt x="1359" y="985"/>
                      </a:cubicBezTo>
                      <a:cubicBezTo>
                        <a:pt x="1358" y="984"/>
                        <a:pt x="1358" y="984"/>
                        <a:pt x="1357" y="984"/>
                      </a:cubicBezTo>
                      <a:cubicBezTo>
                        <a:pt x="1349" y="985"/>
                        <a:pt x="1349" y="985"/>
                        <a:pt x="1349" y="985"/>
                      </a:cubicBezTo>
                      <a:cubicBezTo>
                        <a:pt x="1346" y="987"/>
                        <a:pt x="1345" y="992"/>
                        <a:pt x="1341" y="994"/>
                      </a:cubicBezTo>
                      <a:cubicBezTo>
                        <a:pt x="1333" y="1000"/>
                        <a:pt x="1333" y="1000"/>
                        <a:pt x="1333" y="1000"/>
                      </a:cubicBezTo>
                      <a:cubicBezTo>
                        <a:pt x="1324" y="1002"/>
                        <a:pt x="1324" y="1002"/>
                        <a:pt x="1324" y="1002"/>
                      </a:cubicBezTo>
                      <a:cubicBezTo>
                        <a:pt x="1315" y="1000"/>
                        <a:pt x="1315" y="1000"/>
                        <a:pt x="1315" y="1000"/>
                      </a:cubicBezTo>
                      <a:cubicBezTo>
                        <a:pt x="1309" y="1002"/>
                        <a:pt x="1309" y="1002"/>
                        <a:pt x="1309" y="1002"/>
                      </a:cubicBezTo>
                      <a:cubicBezTo>
                        <a:pt x="1305" y="999"/>
                        <a:pt x="1305" y="999"/>
                        <a:pt x="1305" y="999"/>
                      </a:cubicBezTo>
                      <a:cubicBezTo>
                        <a:pt x="1297" y="998"/>
                        <a:pt x="1297" y="998"/>
                        <a:pt x="1297" y="998"/>
                      </a:cubicBezTo>
                      <a:cubicBezTo>
                        <a:pt x="1297" y="998"/>
                        <a:pt x="1296" y="998"/>
                        <a:pt x="1296" y="998"/>
                      </a:cubicBezTo>
                      <a:cubicBezTo>
                        <a:pt x="1296" y="998"/>
                        <a:pt x="1296" y="998"/>
                        <a:pt x="1296" y="998"/>
                      </a:cubicBezTo>
                      <a:cubicBezTo>
                        <a:pt x="1294" y="998"/>
                        <a:pt x="1294" y="998"/>
                        <a:pt x="1294" y="998"/>
                      </a:cubicBezTo>
                      <a:cubicBezTo>
                        <a:pt x="1285" y="986"/>
                        <a:pt x="1285" y="986"/>
                        <a:pt x="1285" y="986"/>
                      </a:cubicBezTo>
                      <a:cubicBezTo>
                        <a:pt x="1285" y="985"/>
                        <a:pt x="1285" y="985"/>
                        <a:pt x="1285" y="985"/>
                      </a:cubicBezTo>
                      <a:cubicBezTo>
                        <a:pt x="1281" y="980"/>
                        <a:pt x="1277" y="975"/>
                        <a:pt x="1274" y="972"/>
                      </a:cubicBezTo>
                      <a:cubicBezTo>
                        <a:pt x="1266" y="968"/>
                        <a:pt x="1266" y="968"/>
                        <a:pt x="1266" y="968"/>
                      </a:cubicBezTo>
                      <a:cubicBezTo>
                        <a:pt x="1265" y="969"/>
                        <a:pt x="1265" y="969"/>
                        <a:pt x="1265" y="970"/>
                      </a:cubicBezTo>
                      <a:cubicBezTo>
                        <a:pt x="1264" y="971"/>
                        <a:pt x="1264" y="971"/>
                        <a:pt x="1264" y="971"/>
                      </a:cubicBezTo>
                      <a:cubicBezTo>
                        <a:pt x="1264" y="971"/>
                        <a:pt x="1264" y="971"/>
                        <a:pt x="1264" y="971"/>
                      </a:cubicBezTo>
                      <a:cubicBezTo>
                        <a:pt x="1263" y="972"/>
                        <a:pt x="1263" y="972"/>
                        <a:pt x="1262" y="972"/>
                      </a:cubicBezTo>
                      <a:cubicBezTo>
                        <a:pt x="1261" y="972"/>
                        <a:pt x="1261" y="972"/>
                        <a:pt x="1261" y="972"/>
                      </a:cubicBezTo>
                      <a:cubicBezTo>
                        <a:pt x="1260" y="971"/>
                        <a:pt x="1260" y="971"/>
                        <a:pt x="1260" y="971"/>
                      </a:cubicBezTo>
                      <a:cubicBezTo>
                        <a:pt x="1257" y="970"/>
                        <a:pt x="1255" y="969"/>
                        <a:pt x="1253" y="972"/>
                      </a:cubicBezTo>
                      <a:cubicBezTo>
                        <a:pt x="1253" y="972"/>
                        <a:pt x="1253" y="972"/>
                        <a:pt x="1253" y="972"/>
                      </a:cubicBezTo>
                      <a:cubicBezTo>
                        <a:pt x="1252" y="973"/>
                        <a:pt x="1251" y="974"/>
                        <a:pt x="1251" y="975"/>
                      </a:cubicBezTo>
                      <a:cubicBezTo>
                        <a:pt x="1251" y="981"/>
                        <a:pt x="1251" y="981"/>
                        <a:pt x="1251" y="981"/>
                      </a:cubicBezTo>
                      <a:cubicBezTo>
                        <a:pt x="1248" y="982"/>
                        <a:pt x="1248" y="982"/>
                        <a:pt x="1248" y="982"/>
                      </a:cubicBezTo>
                      <a:cubicBezTo>
                        <a:pt x="1247" y="983"/>
                        <a:pt x="1245" y="984"/>
                        <a:pt x="1241" y="984"/>
                      </a:cubicBezTo>
                      <a:cubicBezTo>
                        <a:pt x="1246" y="987"/>
                        <a:pt x="1246" y="987"/>
                        <a:pt x="1246" y="987"/>
                      </a:cubicBezTo>
                      <a:cubicBezTo>
                        <a:pt x="1244" y="990"/>
                        <a:pt x="1244" y="990"/>
                        <a:pt x="1244" y="990"/>
                      </a:cubicBezTo>
                      <a:cubicBezTo>
                        <a:pt x="1245" y="991"/>
                        <a:pt x="1245" y="993"/>
                        <a:pt x="1246" y="994"/>
                      </a:cubicBezTo>
                      <a:cubicBezTo>
                        <a:pt x="1250" y="995"/>
                        <a:pt x="1250" y="995"/>
                        <a:pt x="1250" y="995"/>
                      </a:cubicBezTo>
                      <a:cubicBezTo>
                        <a:pt x="1253" y="1003"/>
                        <a:pt x="1253" y="1003"/>
                        <a:pt x="1253" y="1003"/>
                      </a:cubicBezTo>
                      <a:cubicBezTo>
                        <a:pt x="1262" y="1013"/>
                        <a:pt x="1262" y="1013"/>
                        <a:pt x="1262" y="1013"/>
                      </a:cubicBezTo>
                      <a:cubicBezTo>
                        <a:pt x="1263" y="1016"/>
                        <a:pt x="1263" y="1016"/>
                        <a:pt x="1263" y="1016"/>
                      </a:cubicBezTo>
                      <a:cubicBezTo>
                        <a:pt x="1264" y="1017"/>
                        <a:pt x="1265" y="1018"/>
                        <a:pt x="1266" y="1018"/>
                      </a:cubicBezTo>
                      <a:cubicBezTo>
                        <a:pt x="1266" y="1018"/>
                        <a:pt x="1266" y="1018"/>
                        <a:pt x="1266" y="1018"/>
                      </a:cubicBezTo>
                      <a:cubicBezTo>
                        <a:pt x="1268" y="1018"/>
                        <a:pt x="1268" y="1018"/>
                        <a:pt x="1268" y="1018"/>
                      </a:cubicBezTo>
                      <a:cubicBezTo>
                        <a:pt x="1269" y="1018"/>
                        <a:pt x="1269" y="1018"/>
                        <a:pt x="1269" y="1018"/>
                      </a:cubicBezTo>
                      <a:cubicBezTo>
                        <a:pt x="1271" y="1019"/>
                        <a:pt x="1274" y="1020"/>
                        <a:pt x="1276" y="1022"/>
                      </a:cubicBezTo>
                      <a:cubicBezTo>
                        <a:pt x="1277" y="1022"/>
                        <a:pt x="1277" y="1022"/>
                        <a:pt x="1277" y="1022"/>
                      </a:cubicBezTo>
                      <a:cubicBezTo>
                        <a:pt x="1283" y="1027"/>
                        <a:pt x="1283" y="1027"/>
                        <a:pt x="1283" y="1027"/>
                      </a:cubicBezTo>
                      <a:cubicBezTo>
                        <a:pt x="1284" y="1029"/>
                        <a:pt x="1284" y="1029"/>
                        <a:pt x="1284" y="1029"/>
                      </a:cubicBezTo>
                      <a:cubicBezTo>
                        <a:pt x="1285" y="1030"/>
                        <a:pt x="1286" y="1031"/>
                        <a:pt x="1286" y="1032"/>
                      </a:cubicBezTo>
                      <a:cubicBezTo>
                        <a:pt x="1289" y="1033"/>
                        <a:pt x="1289" y="1033"/>
                        <a:pt x="1289" y="1033"/>
                      </a:cubicBezTo>
                      <a:cubicBezTo>
                        <a:pt x="1289" y="1035"/>
                        <a:pt x="1289" y="1035"/>
                        <a:pt x="1289" y="1035"/>
                      </a:cubicBezTo>
                      <a:cubicBezTo>
                        <a:pt x="1292" y="1038"/>
                        <a:pt x="1294" y="1040"/>
                        <a:pt x="1296" y="1041"/>
                      </a:cubicBezTo>
                      <a:cubicBezTo>
                        <a:pt x="1297" y="1039"/>
                        <a:pt x="1297" y="1036"/>
                        <a:pt x="1297" y="1033"/>
                      </a:cubicBezTo>
                      <a:cubicBezTo>
                        <a:pt x="1298" y="1021"/>
                        <a:pt x="1298" y="1021"/>
                        <a:pt x="1298" y="1021"/>
                      </a:cubicBezTo>
                      <a:cubicBezTo>
                        <a:pt x="1301" y="1021"/>
                        <a:pt x="1301" y="1021"/>
                        <a:pt x="1301" y="1021"/>
                      </a:cubicBezTo>
                      <a:cubicBezTo>
                        <a:pt x="1303" y="1026"/>
                        <a:pt x="1303" y="1026"/>
                        <a:pt x="1303" y="1026"/>
                      </a:cubicBezTo>
                      <a:cubicBezTo>
                        <a:pt x="1304" y="1029"/>
                        <a:pt x="1305" y="1032"/>
                        <a:pt x="1305" y="1034"/>
                      </a:cubicBezTo>
                      <a:cubicBezTo>
                        <a:pt x="1306" y="1036"/>
                        <a:pt x="1306" y="1036"/>
                        <a:pt x="1306" y="1036"/>
                      </a:cubicBezTo>
                      <a:cubicBezTo>
                        <a:pt x="1306" y="1036"/>
                        <a:pt x="1306" y="1036"/>
                        <a:pt x="1306" y="1036"/>
                      </a:cubicBezTo>
                      <a:cubicBezTo>
                        <a:pt x="1306" y="1039"/>
                        <a:pt x="1307" y="1042"/>
                        <a:pt x="1308" y="1044"/>
                      </a:cubicBezTo>
                      <a:cubicBezTo>
                        <a:pt x="1313" y="1041"/>
                        <a:pt x="1313" y="1041"/>
                        <a:pt x="1313" y="1041"/>
                      </a:cubicBezTo>
                      <a:cubicBezTo>
                        <a:pt x="1317" y="1041"/>
                        <a:pt x="1317" y="1041"/>
                        <a:pt x="1317" y="1041"/>
                      </a:cubicBezTo>
                      <a:cubicBezTo>
                        <a:pt x="1319" y="1040"/>
                        <a:pt x="1321" y="1039"/>
                        <a:pt x="1323" y="1038"/>
                      </a:cubicBezTo>
                      <a:cubicBezTo>
                        <a:pt x="1326" y="1035"/>
                        <a:pt x="1326" y="1035"/>
                        <a:pt x="1326" y="1035"/>
                      </a:cubicBezTo>
                      <a:cubicBezTo>
                        <a:pt x="1333" y="1033"/>
                        <a:pt x="1333" y="1033"/>
                        <a:pt x="1333" y="1033"/>
                      </a:cubicBezTo>
                      <a:cubicBezTo>
                        <a:pt x="1337" y="1031"/>
                        <a:pt x="1340" y="1028"/>
                        <a:pt x="1342" y="1024"/>
                      </a:cubicBezTo>
                      <a:cubicBezTo>
                        <a:pt x="1346" y="1018"/>
                        <a:pt x="1346" y="1018"/>
                        <a:pt x="1346" y="1018"/>
                      </a:cubicBezTo>
                      <a:cubicBezTo>
                        <a:pt x="1345" y="1016"/>
                        <a:pt x="1345" y="1016"/>
                        <a:pt x="1345" y="1016"/>
                      </a:cubicBezTo>
                      <a:cubicBezTo>
                        <a:pt x="1345" y="1012"/>
                        <a:pt x="1345" y="1012"/>
                        <a:pt x="1345" y="1012"/>
                      </a:cubicBezTo>
                      <a:cubicBezTo>
                        <a:pt x="1348" y="1008"/>
                        <a:pt x="1348" y="1008"/>
                        <a:pt x="1348" y="1008"/>
                      </a:cubicBezTo>
                      <a:cubicBezTo>
                        <a:pt x="1348" y="1006"/>
                        <a:pt x="1349" y="1004"/>
                        <a:pt x="1349" y="1002"/>
                      </a:cubicBezTo>
                      <a:cubicBezTo>
                        <a:pt x="1349" y="1001"/>
                        <a:pt x="1349" y="1001"/>
                        <a:pt x="1349" y="1001"/>
                      </a:cubicBezTo>
                      <a:cubicBezTo>
                        <a:pt x="1351" y="999"/>
                        <a:pt x="1351" y="999"/>
                        <a:pt x="1351" y="999"/>
                      </a:cubicBezTo>
                      <a:cubicBezTo>
                        <a:pt x="1351" y="999"/>
                        <a:pt x="1351" y="998"/>
                        <a:pt x="1351" y="998"/>
                      </a:cubicBezTo>
                      <a:cubicBezTo>
                        <a:pt x="1354" y="994"/>
                        <a:pt x="1354" y="994"/>
                        <a:pt x="1354" y="994"/>
                      </a:cubicBezTo>
                      <a:cubicBezTo>
                        <a:pt x="1358" y="995"/>
                        <a:pt x="1358" y="995"/>
                        <a:pt x="1358" y="995"/>
                      </a:cubicBezTo>
                      <a:cubicBezTo>
                        <a:pt x="1357" y="1000"/>
                        <a:pt x="1357" y="1000"/>
                        <a:pt x="1357" y="1000"/>
                      </a:cubicBezTo>
                      <a:cubicBezTo>
                        <a:pt x="1355" y="1005"/>
                        <a:pt x="1355" y="1005"/>
                        <a:pt x="1355" y="1005"/>
                      </a:cubicBezTo>
                      <a:cubicBezTo>
                        <a:pt x="1355" y="1006"/>
                        <a:pt x="1355" y="1007"/>
                        <a:pt x="1356" y="1008"/>
                      </a:cubicBezTo>
                      <a:cubicBezTo>
                        <a:pt x="1356" y="1008"/>
                        <a:pt x="1356" y="1008"/>
                        <a:pt x="1356" y="1008"/>
                      </a:cubicBezTo>
                      <a:cubicBezTo>
                        <a:pt x="1357" y="1009"/>
                        <a:pt x="1357" y="1009"/>
                        <a:pt x="1357" y="1009"/>
                      </a:cubicBezTo>
                      <a:cubicBezTo>
                        <a:pt x="1357" y="1010"/>
                        <a:pt x="1357" y="1010"/>
                        <a:pt x="1357" y="1010"/>
                      </a:cubicBezTo>
                      <a:cubicBezTo>
                        <a:pt x="1362" y="1016"/>
                        <a:pt x="1360" y="1019"/>
                        <a:pt x="1367" y="1021"/>
                      </a:cubicBezTo>
                      <a:cubicBezTo>
                        <a:pt x="1372" y="1022"/>
                        <a:pt x="1372" y="1022"/>
                        <a:pt x="1372" y="1022"/>
                      </a:cubicBezTo>
                      <a:cubicBezTo>
                        <a:pt x="1392" y="1019"/>
                        <a:pt x="1392" y="1019"/>
                        <a:pt x="1392" y="1019"/>
                      </a:cubicBezTo>
                      <a:cubicBezTo>
                        <a:pt x="1398" y="1019"/>
                        <a:pt x="1398" y="1019"/>
                        <a:pt x="1398" y="1019"/>
                      </a:cubicBezTo>
                      <a:cubicBezTo>
                        <a:pt x="1398" y="1019"/>
                        <a:pt x="1398" y="1019"/>
                        <a:pt x="1398" y="1019"/>
                      </a:cubicBezTo>
                      <a:cubicBezTo>
                        <a:pt x="1402" y="1020"/>
                        <a:pt x="1405" y="1022"/>
                        <a:pt x="1407" y="1025"/>
                      </a:cubicBezTo>
                      <a:cubicBezTo>
                        <a:pt x="1409" y="1027"/>
                        <a:pt x="1409" y="1027"/>
                        <a:pt x="1409" y="1027"/>
                      </a:cubicBezTo>
                      <a:cubicBezTo>
                        <a:pt x="1409" y="1031"/>
                        <a:pt x="1409" y="1031"/>
                        <a:pt x="1409" y="1031"/>
                      </a:cubicBezTo>
                      <a:cubicBezTo>
                        <a:pt x="1409" y="1032"/>
                        <a:pt x="1409" y="1032"/>
                        <a:pt x="1409" y="1032"/>
                      </a:cubicBezTo>
                      <a:cubicBezTo>
                        <a:pt x="1410" y="1038"/>
                        <a:pt x="1409" y="1045"/>
                        <a:pt x="1407" y="1050"/>
                      </a:cubicBezTo>
                      <a:cubicBezTo>
                        <a:pt x="1406" y="1055"/>
                        <a:pt x="1403" y="1058"/>
                        <a:pt x="1401" y="1061"/>
                      </a:cubicBezTo>
                      <a:cubicBezTo>
                        <a:pt x="1399" y="1065"/>
                        <a:pt x="1399" y="1065"/>
                        <a:pt x="1399" y="1065"/>
                      </a:cubicBezTo>
                      <a:cubicBezTo>
                        <a:pt x="1397" y="1065"/>
                        <a:pt x="1397" y="1065"/>
                        <a:pt x="1397" y="1065"/>
                      </a:cubicBezTo>
                      <a:cubicBezTo>
                        <a:pt x="1392" y="1069"/>
                        <a:pt x="1388" y="1074"/>
                        <a:pt x="1388" y="1084"/>
                      </a:cubicBezTo>
                      <a:cubicBezTo>
                        <a:pt x="1388" y="1084"/>
                        <a:pt x="1388" y="1084"/>
                        <a:pt x="1388" y="1084"/>
                      </a:cubicBezTo>
                      <a:cubicBezTo>
                        <a:pt x="1388" y="1091"/>
                        <a:pt x="1388" y="1091"/>
                        <a:pt x="1388" y="1091"/>
                      </a:cubicBezTo>
                      <a:cubicBezTo>
                        <a:pt x="1389" y="1095"/>
                        <a:pt x="1389" y="1095"/>
                        <a:pt x="1389" y="1095"/>
                      </a:cubicBezTo>
                      <a:cubicBezTo>
                        <a:pt x="1388" y="1097"/>
                        <a:pt x="1388" y="1097"/>
                        <a:pt x="1388" y="1097"/>
                      </a:cubicBezTo>
                      <a:cubicBezTo>
                        <a:pt x="1387" y="1101"/>
                        <a:pt x="1386" y="1104"/>
                        <a:pt x="1385" y="1107"/>
                      </a:cubicBezTo>
                      <a:cubicBezTo>
                        <a:pt x="1385" y="1113"/>
                        <a:pt x="1385" y="1113"/>
                        <a:pt x="1385" y="1113"/>
                      </a:cubicBezTo>
                      <a:cubicBezTo>
                        <a:pt x="1380" y="1116"/>
                        <a:pt x="1380" y="1116"/>
                        <a:pt x="1380" y="1116"/>
                      </a:cubicBezTo>
                      <a:cubicBezTo>
                        <a:pt x="1378" y="1118"/>
                        <a:pt x="1378" y="1118"/>
                        <a:pt x="1378" y="1118"/>
                      </a:cubicBezTo>
                      <a:cubicBezTo>
                        <a:pt x="1378" y="1118"/>
                        <a:pt x="1378" y="1118"/>
                        <a:pt x="1378" y="1118"/>
                      </a:cubicBezTo>
                      <a:cubicBezTo>
                        <a:pt x="1378" y="1118"/>
                        <a:pt x="1377" y="1119"/>
                        <a:pt x="1377" y="1120"/>
                      </a:cubicBezTo>
                      <a:cubicBezTo>
                        <a:pt x="1376" y="1128"/>
                        <a:pt x="1376" y="1128"/>
                        <a:pt x="1376" y="1128"/>
                      </a:cubicBezTo>
                      <a:cubicBezTo>
                        <a:pt x="1373" y="1131"/>
                        <a:pt x="1373" y="1131"/>
                        <a:pt x="1373" y="1131"/>
                      </a:cubicBezTo>
                      <a:cubicBezTo>
                        <a:pt x="1373" y="1133"/>
                        <a:pt x="1372" y="1134"/>
                        <a:pt x="1370" y="1136"/>
                      </a:cubicBezTo>
                      <a:cubicBezTo>
                        <a:pt x="1369" y="1137"/>
                        <a:pt x="1369" y="1137"/>
                        <a:pt x="1369" y="1137"/>
                      </a:cubicBezTo>
                      <a:cubicBezTo>
                        <a:pt x="1366" y="1137"/>
                        <a:pt x="1366" y="1137"/>
                        <a:pt x="1366" y="1137"/>
                      </a:cubicBezTo>
                      <a:cubicBezTo>
                        <a:pt x="1365" y="1137"/>
                        <a:pt x="1363" y="1138"/>
                        <a:pt x="1361" y="1139"/>
                      </a:cubicBezTo>
                      <a:cubicBezTo>
                        <a:pt x="1359" y="1142"/>
                        <a:pt x="1359" y="1142"/>
                        <a:pt x="1359" y="1142"/>
                      </a:cubicBezTo>
                      <a:cubicBezTo>
                        <a:pt x="1355" y="1142"/>
                        <a:pt x="1355" y="1142"/>
                        <a:pt x="1355" y="1142"/>
                      </a:cubicBezTo>
                      <a:cubicBezTo>
                        <a:pt x="1354" y="1143"/>
                        <a:pt x="1352" y="1144"/>
                        <a:pt x="1352" y="1144"/>
                      </a:cubicBezTo>
                      <a:cubicBezTo>
                        <a:pt x="1352" y="1146"/>
                        <a:pt x="1352" y="1146"/>
                        <a:pt x="1352" y="1146"/>
                      </a:cubicBezTo>
                      <a:cubicBezTo>
                        <a:pt x="1349" y="1147"/>
                        <a:pt x="1349" y="1147"/>
                        <a:pt x="1349" y="1147"/>
                      </a:cubicBezTo>
                      <a:cubicBezTo>
                        <a:pt x="1346" y="1151"/>
                        <a:pt x="1340" y="1156"/>
                        <a:pt x="1339" y="1157"/>
                      </a:cubicBezTo>
                      <a:cubicBezTo>
                        <a:pt x="1337" y="1165"/>
                        <a:pt x="1337" y="1165"/>
                        <a:pt x="1337" y="1165"/>
                      </a:cubicBezTo>
                      <a:cubicBezTo>
                        <a:pt x="1329" y="1170"/>
                        <a:pt x="1329" y="1170"/>
                        <a:pt x="1329" y="1170"/>
                      </a:cubicBezTo>
                      <a:cubicBezTo>
                        <a:pt x="1323" y="1175"/>
                        <a:pt x="1323" y="1175"/>
                        <a:pt x="1323" y="1175"/>
                      </a:cubicBezTo>
                      <a:cubicBezTo>
                        <a:pt x="1321" y="1176"/>
                        <a:pt x="1319" y="1178"/>
                        <a:pt x="1317" y="1180"/>
                      </a:cubicBezTo>
                      <a:cubicBezTo>
                        <a:pt x="1314" y="1183"/>
                        <a:pt x="1314" y="1183"/>
                        <a:pt x="1314" y="1183"/>
                      </a:cubicBezTo>
                      <a:cubicBezTo>
                        <a:pt x="1312" y="1184"/>
                        <a:pt x="1312" y="1184"/>
                        <a:pt x="1312" y="1184"/>
                      </a:cubicBezTo>
                      <a:cubicBezTo>
                        <a:pt x="1306" y="1190"/>
                        <a:pt x="1300" y="1196"/>
                        <a:pt x="1294" y="1203"/>
                      </a:cubicBezTo>
                      <a:cubicBezTo>
                        <a:pt x="1294" y="1203"/>
                        <a:pt x="1294" y="1203"/>
                        <a:pt x="1294" y="1203"/>
                      </a:cubicBezTo>
                      <a:cubicBezTo>
                        <a:pt x="1292" y="1205"/>
                        <a:pt x="1292" y="1205"/>
                        <a:pt x="1292" y="1205"/>
                      </a:cubicBezTo>
                      <a:cubicBezTo>
                        <a:pt x="1291" y="1205"/>
                        <a:pt x="1291" y="1205"/>
                        <a:pt x="1291" y="1205"/>
                      </a:cubicBezTo>
                      <a:cubicBezTo>
                        <a:pt x="1290" y="1207"/>
                        <a:pt x="1287" y="1208"/>
                        <a:pt x="1285" y="1209"/>
                      </a:cubicBezTo>
                      <a:cubicBezTo>
                        <a:pt x="1283" y="1211"/>
                        <a:pt x="1283" y="1211"/>
                        <a:pt x="1283" y="1211"/>
                      </a:cubicBezTo>
                      <a:cubicBezTo>
                        <a:pt x="1274" y="1215"/>
                        <a:pt x="1274" y="1215"/>
                        <a:pt x="1274" y="1215"/>
                      </a:cubicBezTo>
                      <a:cubicBezTo>
                        <a:pt x="1261" y="1219"/>
                        <a:pt x="1261" y="1219"/>
                        <a:pt x="1261" y="1219"/>
                      </a:cubicBezTo>
                      <a:cubicBezTo>
                        <a:pt x="1260" y="1219"/>
                        <a:pt x="1260" y="1220"/>
                        <a:pt x="1259" y="1221"/>
                      </a:cubicBezTo>
                      <a:cubicBezTo>
                        <a:pt x="1258" y="1222"/>
                        <a:pt x="1258" y="1222"/>
                        <a:pt x="1258" y="1222"/>
                      </a:cubicBezTo>
                      <a:cubicBezTo>
                        <a:pt x="1257" y="1223"/>
                        <a:pt x="1257" y="1223"/>
                        <a:pt x="1257" y="1223"/>
                      </a:cubicBezTo>
                      <a:cubicBezTo>
                        <a:pt x="1257" y="1224"/>
                        <a:pt x="1256" y="1224"/>
                        <a:pt x="1256" y="1225"/>
                      </a:cubicBezTo>
                      <a:cubicBezTo>
                        <a:pt x="1250" y="1232"/>
                        <a:pt x="1250" y="1232"/>
                        <a:pt x="1250" y="1232"/>
                      </a:cubicBezTo>
                      <a:cubicBezTo>
                        <a:pt x="1241" y="1235"/>
                        <a:pt x="1241" y="1235"/>
                        <a:pt x="1241" y="1235"/>
                      </a:cubicBezTo>
                      <a:cubicBezTo>
                        <a:pt x="1236" y="1233"/>
                        <a:pt x="1236" y="1233"/>
                        <a:pt x="1236" y="1233"/>
                      </a:cubicBezTo>
                      <a:cubicBezTo>
                        <a:pt x="1230" y="1222"/>
                        <a:pt x="1230" y="1222"/>
                        <a:pt x="1230" y="1222"/>
                      </a:cubicBezTo>
                      <a:cubicBezTo>
                        <a:pt x="1228" y="1220"/>
                        <a:pt x="1228" y="1220"/>
                        <a:pt x="1228" y="1220"/>
                      </a:cubicBezTo>
                      <a:cubicBezTo>
                        <a:pt x="1228" y="1219"/>
                        <a:pt x="1227" y="1219"/>
                        <a:pt x="1226" y="1218"/>
                      </a:cubicBezTo>
                      <a:cubicBezTo>
                        <a:pt x="1221" y="1217"/>
                        <a:pt x="1221" y="1217"/>
                        <a:pt x="1221" y="1217"/>
                      </a:cubicBezTo>
                      <a:cubicBezTo>
                        <a:pt x="1220" y="1212"/>
                        <a:pt x="1220" y="1212"/>
                        <a:pt x="1220" y="1212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20" y="1210"/>
                        <a:pt x="1220" y="1210"/>
                        <a:pt x="1220" y="1210"/>
                      </a:cubicBezTo>
                      <a:cubicBezTo>
                        <a:pt x="1219" y="1208"/>
                        <a:pt x="1219" y="1208"/>
                        <a:pt x="1219" y="1208"/>
                      </a:cubicBezTo>
                      <a:cubicBezTo>
                        <a:pt x="1219" y="1207"/>
                        <a:pt x="1219" y="1207"/>
                        <a:pt x="1219" y="1207"/>
                      </a:cubicBezTo>
                      <a:cubicBezTo>
                        <a:pt x="1219" y="1204"/>
                        <a:pt x="1220" y="1201"/>
                        <a:pt x="1220" y="1198"/>
                      </a:cubicBezTo>
                      <a:cubicBezTo>
                        <a:pt x="1218" y="1193"/>
                        <a:pt x="1215" y="1188"/>
                        <a:pt x="1212" y="1184"/>
                      </a:cubicBezTo>
                      <a:cubicBezTo>
                        <a:pt x="1206" y="1181"/>
                        <a:pt x="1206" y="1181"/>
                        <a:pt x="1206" y="1181"/>
                      </a:cubicBezTo>
                      <a:cubicBezTo>
                        <a:pt x="1202" y="1177"/>
                        <a:pt x="1202" y="1177"/>
                        <a:pt x="1202" y="1177"/>
                      </a:cubicBezTo>
                      <a:cubicBezTo>
                        <a:pt x="1200" y="1170"/>
                        <a:pt x="1200" y="1170"/>
                        <a:pt x="1200" y="1170"/>
                      </a:cubicBezTo>
                      <a:cubicBezTo>
                        <a:pt x="1198" y="1168"/>
                        <a:pt x="1198" y="1168"/>
                        <a:pt x="1198" y="1168"/>
                      </a:cubicBezTo>
                      <a:cubicBezTo>
                        <a:pt x="1198" y="1168"/>
                        <a:pt x="1198" y="1168"/>
                        <a:pt x="1198" y="1168"/>
                      </a:cubicBezTo>
                      <a:cubicBezTo>
                        <a:pt x="1197" y="1166"/>
                        <a:pt x="1196" y="1165"/>
                        <a:pt x="1195" y="1164"/>
                      </a:cubicBezTo>
                      <a:cubicBezTo>
                        <a:pt x="1187" y="1157"/>
                        <a:pt x="1187" y="1157"/>
                        <a:pt x="1187" y="1157"/>
                      </a:cubicBezTo>
                      <a:cubicBezTo>
                        <a:pt x="1187" y="1157"/>
                        <a:pt x="1187" y="1157"/>
                        <a:pt x="1187" y="1157"/>
                      </a:cubicBezTo>
                      <a:cubicBezTo>
                        <a:pt x="1182" y="1153"/>
                        <a:pt x="1176" y="1151"/>
                        <a:pt x="1169" y="1146"/>
                      </a:cubicBezTo>
                      <a:cubicBezTo>
                        <a:pt x="1163" y="1142"/>
                        <a:pt x="1163" y="1142"/>
                        <a:pt x="1163" y="1142"/>
                      </a:cubicBezTo>
                      <a:cubicBezTo>
                        <a:pt x="1161" y="1137"/>
                        <a:pt x="1161" y="1137"/>
                        <a:pt x="1161" y="1137"/>
                      </a:cubicBezTo>
                      <a:cubicBezTo>
                        <a:pt x="1160" y="1137"/>
                        <a:pt x="1160" y="1136"/>
                        <a:pt x="1159" y="1135"/>
                      </a:cubicBezTo>
                      <a:cubicBezTo>
                        <a:pt x="1153" y="1127"/>
                        <a:pt x="1153" y="1127"/>
                        <a:pt x="1153" y="1127"/>
                      </a:cubicBezTo>
                      <a:cubicBezTo>
                        <a:pt x="1153" y="1124"/>
                        <a:pt x="1153" y="1124"/>
                        <a:pt x="1153" y="1124"/>
                      </a:cubicBezTo>
                      <a:cubicBezTo>
                        <a:pt x="1150" y="1119"/>
                        <a:pt x="1148" y="1114"/>
                        <a:pt x="1144" y="1109"/>
                      </a:cubicBezTo>
                      <a:cubicBezTo>
                        <a:pt x="1141" y="1105"/>
                        <a:pt x="1136" y="1103"/>
                        <a:pt x="1133" y="1100"/>
                      </a:cubicBezTo>
                      <a:cubicBezTo>
                        <a:pt x="1132" y="1100"/>
                        <a:pt x="1132" y="1100"/>
                        <a:pt x="1132" y="1100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31" y="1098"/>
                        <a:pt x="1131" y="1098"/>
                        <a:pt x="1131" y="1098"/>
                      </a:cubicBezTo>
                      <a:cubicBezTo>
                        <a:pt x="1127" y="1092"/>
                        <a:pt x="1127" y="1092"/>
                        <a:pt x="1127" y="1092"/>
                      </a:cubicBezTo>
                      <a:cubicBezTo>
                        <a:pt x="1127" y="1089"/>
                        <a:pt x="1127" y="1089"/>
                        <a:pt x="1127" y="1089"/>
                      </a:cubicBezTo>
                      <a:cubicBezTo>
                        <a:pt x="1126" y="1085"/>
                        <a:pt x="1125" y="1082"/>
                        <a:pt x="1122" y="1079"/>
                      </a:cubicBezTo>
                      <a:cubicBezTo>
                        <a:pt x="1122" y="1079"/>
                        <a:pt x="1122" y="1079"/>
                        <a:pt x="1122" y="1079"/>
                      </a:cubicBezTo>
                      <a:cubicBezTo>
                        <a:pt x="1122" y="1079"/>
                        <a:pt x="1121" y="1078"/>
                        <a:pt x="1120" y="1077"/>
                      </a:cubicBezTo>
                      <a:cubicBezTo>
                        <a:pt x="1116" y="1075"/>
                        <a:pt x="1116" y="1075"/>
                        <a:pt x="1116" y="1075"/>
                      </a:cubicBezTo>
                      <a:cubicBezTo>
                        <a:pt x="1114" y="1072"/>
                        <a:pt x="1114" y="1072"/>
                        <a:pt x="1114" y="1072"/>
                      </a:cubicBezTo>
                      <a:cubicBezTo>
                        <a:pt x="1109" y="1069"/>
                        <a:pt x="1109" y="1069"/>
                        <a:pt x="1109" y="1069"/>
                      </a:cubicBezTo>
                      <a:cubicBezTo>
                        <a:pt x="1109" y="1066"/>
                        <a:pt x="1109" y="1066"/>
                        <a:pt x="1109" y="1066"/>
                      </a:cubicBezTo>
                      <a:cubicBezTo>
                        <a:pt x="1108" y="1065"/>
                        <a:pt x="1107" y="1064"/>
                        <a:pt x="1106" y="1063"/>
                      </a:cubicBezTo>
                      <a:cubicBezTo>
                        <a:pt x="1105" y="1063"/>
                        <a:pt x="1105" y="1063"/>
                        <a:pt x="1105" y="1063"/>
                      </a:cubicBezTo>
                      <a:cubicBezTo>
                        <a:pt x="1101" y="1059"/>
                        <a:pt x="1101" y="1059"/>
                        <a:pt x="1101" y="1059"/>
                      </a:cubicBezTo>
                      <a:cubicBezTo>
                        <a:pt x="1096" y="1053"/>
                        <a:pt x="1091" y="1050"/>
                        <a:pt x="1088" y="1046"/>
                      </a:cubicBezTo>
                      <a:cubicBezTo>
                        <a:pt x="1084" y="1046"/>
                        <a:pt x="1084" y="1046"/>
                        <a:pt x="1084" y="1046"/>
                      </a:cubicBezTo>
                      <a:cubicBezTo>
                        <a:pt x="1083" y="1038"/>
                        <a:pt x="1083" y="1038"/>
                        <a:pt x="1083" y="1038"/>
                      </a:cubicBezTo>
                      <a:cubicBezTo>
                        <a:pt x="1083" y="1035"/>
                        <a:pt x="1083" y="1035"/>
                        <a:pt x="1083" y="1035"/>
                      </a:cubicBezTo>
                      <a:cubicBezTo>
                        <a:pt x="1083" y="1032"/>
                        <a:pt x="1084" y="1029"/>
                        <a:pt x="1085" y="1025"/>
                      </a:cubicBezTo>
                      <a:cubicBezTo>
                        <a:pt x="1076" y="1028"/>
                        <a:pt x="1083" y="1047"/>
                        <a:pt x="1076" y="1050"/>
                      </a:cubicBezTo>
                      <a:cubicBezTo>
                        <a:pt x="1068" y="1054"/>
                        <a:pt x="1058" y="1033"/>
                        <a:pt x="1051" y="1031"/>
                      </a:cubicBezTo>
                      <a:cubicBezTo>
                        <a:pt x="1052" y="1033"/>
                        <a:pt x="1053" y="1036"/>
                        <a:pt x="1054" y="1038"/>
                      </a:cubicBezTo>
                      <a:cubicBezTo>
                        <a:pt x="1056" y="1041"/>
                        <a:pt x="1056" y="1041"/>
                        <a:pt x="1056" y="1041"/>
                      </a:cubicBezTo>
                      <a:cubicBezTo>
                        <a:pt x="1057" y="1046"/>
                        <a:pt x="1057" y="1046"/>
                        <a:pt x="1057" y="1046"/>
                      </a:cubicBezTo>
                      <a:cubicBezTo>
                        <a:pt x="1064" y="1051"/>
                        <a:pt x="1064" y="1051"/>
                        <a:pt x="1064" y="1051"/>
                      </a:cubicBezTo>
                      <a:cubicBezTo>
                        <a:pt x="1066" y="1057"/>
                        <a:pt x="1066" y="1057"/>
                        <a:pt x="1066" y="1057"/>
                      </a:cubicBezTo>
                      <a:cubicBezTo>
                        <a:pt x="1068" y="1069"/>
                        <a:pt x="1068" y="1069"/>
                        <a:pt x="1068" y="1069"/>
                      </a:cubicBezTo>
                      <a:cubicBezTo>
                        <a:pt x="1072" y="1070"/>
                        <a:pt x="1072" y="1070"/>
                        <a:pt x="1072" y="1070"/>
                      </a:cubicBezTo>
                      <a:cubicBezTo>
                        <a:pt x="1076" y="1081"/>
                        <a:pt x="1076" y="1081"/>
                        <a:pt x="1076" y="1081"/>
                      </a:cubicBezTo>
                      <a:cubicBezTo>
                        <a:pt x="1080" y="1084"/>
                        <a:pt x="1080" y="1084"/>
                        <a:pt x="1080" y="1084"/>
                      </a:cubicBezTo>
                      <a:cubicBezTo>
                        <a:pt x="1080" y="1086"/>
                        <a:pt x="1080" y="1086"/>
                        <a:pt x="1080" y="1086"/>
                      </a:cubicBezTo>
                      <a:cubicBezTo>
                        <a:pt x="1083" y="1088"/>
                        <a:pt x="1085" y="1090"/>
                        <a:pt x="1087" y="1091"/>
                      </a:cubicBezTo>
                      <a:cubicBezTo>
                        <a:pt x="1087" y="1091"/>
                        <a:pt x="1087" y="1091"/>
                        <a:pt x="1087" y="1091"/>
                      </a:cubicBezTo>
                      <a:cubicBezTo>
                        <a:pt x="1089" y="1092"/>
                        <a:pt x="1089" y="1092"/>
                        <a:pt x="1089" y="1092"/>
                      </a:cubicBezTo>
                      <a:cubicBezTo>
                        <a:pt x="1090" y="1093"/>
                        <a:pt x="1090" y="1093"/>
                        <a:pt x="1090" y="1093"/>
                      </a:cubicBezTo>
                      <a:cubicBezTo>
                        <a:pt x="1093" y="1095"/>
                        <a:pt x="1094" y="1097"/>
                        <a:pt x="1096" y="1100"/>
                      </a:cubicBezTo>
                      <a:cubicBezTo>
                        <a:pt x="1099" y="1104"/>
                        <a:pt x="1099" y="1104"/>
                        <a:pt x="1099" y="1104"/>
                      </a:cubicBezTo>
                      <a:cubicBezTo>
                        <a:pt x="1097" y="1105"/>
                        <a:pt x="1097" y="1105"/>
                        <a:pt x="1097" y="1105"/>
                      </a:cubicBezTo>
                      <a:cubicBezTo>
                        <a:pt x="1098" y="1110"/>
                        <a:pt x="1098" y="1115"/>
                        <a:pt x="1101" y="1120"/>
                      </a:cubicBezTo>
                      <a:cubicBezTo>
                        <a:pt x="1102" y="1123"/>
                        <a:pt x="1104" y="1124"/>
                        <a:pt x="1107" y="1125"/>
                      </a:cubicBezTo>
                      <a:cubicBezTo>
                        <a:pt x="1108" y="1125"/>
                        <a:pt x="1108" y="1125"/>
                        <a:pt x="1108" y="1125"/>
                      </a:cubicBezTo>
                      <a:cubicBezTo>
                        <a:pt x="1112" y="1126"/>
                        <a:pt x="1116" y="1126"/>
                        <a:pt x="1119" y="1130"/>
                      </a:cubicBezTo>
                      <a:cubicBezTo>
                        <a:pt x="1122" y="1132"/>
                        <a:pt x="1122" y="1135"/>
                        <a:pt x="1122" y="1138"/>
                      </a:cubicBezTo>
                      <a:cubicBezTo>
                        <a:pt x="1125" y="1141"/>
                        <a:pt x="1125" y="1141"/>
                        <a:pt x="1125" y="1141"/>
                      </a:cubicBezTo>
                      <a:cubicBezTo>
                        <a:pt x="1123" y="1147"/>
                        <a:pt x="1123" y="1147"/>
                        <a:pt x="1123" y="1147"/>
                      </a:cubicBezTo>
                      <a:cubicBezTo>
                        <a:pt x="1126" y="1156"/>
                        <a:pt x="1126" y="1156"/>
                        <a:pt x="1126" y="1156"/>
                      </a:cubicBezTo>
                      <a:cubicBezTo>
                        <a:pt x="1127" y="1162"/>
                        <a:pt x="1127" y="1162"/>
                        <a:pt x="1127" y="1162"/>
                      </a:cubicBezTo>
                      <a:cubicBezTo>
                        <a:pt x="1127" y="1162"/>
                        <a:pt x="1127" y="1162"/>
                        <a:pt x="1127" y="1162"/>
                      </a:cubicBezTo>
                      <a:cubicBezTo>
                        <a:pt x="1130" y="1169"/>
                        <a:pt x="1134" y="1175"/>
                        <a:pt x="1139" y="1182"/>
                      </a:cubicBezTo>
                      <a:cubicBezTo>
                        <a:pt x="1140" y="1182"/>
                        <a:pt x="1140" y="1182"/>
                        <a:pt x="1140" y="1182"/>
                      </a:cubicBezTo>
                      <a:cubicBezTo>
                        <a:pt x="1148" y="1189"/>
                        <a:pt x="1148" y="1189"/>
                        <a:pt x="1148" y="1189"/>
                      </a:cubicBezTo>
                      <a:cubicBezTo>
                        <a:pt x="1150" y="1190"/>
                        <a:pt x="1150" y="1190"/>
                        <a:pt x="1150" y="1190"/>
                      </a:cubicBezTo>
                      <a:cubicBezTo>
                        <a:pt x="1156" y="1200"/>
                        <a:pt x="1156" y="1200"/>
                        <a:pt x="1156" y="1200"/>
                      </a:cubicBezTo>
                      <a:cubicBezTo>
                        <a:pt x="1161" y="1203"/>
                        <a:pt x="1161" y="1203"/>
                        <a:pt x="1161" y="1203"/>
                      </a:cubicBezTo>
                      <a:cubicBezTo>
                        <a:pt x="1175" y="1215"/>
                        <a:pt x="1175" y="1215"/>
                        <a:pt x="1175" y="1215"/>
                      </a:cubicBezTo>
                      <a:cubicBezTo>
                        <a:pt x="1180" y="1217"/>
                        <a:pt x="1180" y="1217"/>
                        <a:pt x="1180" y="1217"/>
                      </a:cubicBezTo>
                      <a:cubicBezTo>
                        <a:pt x="1186" y="1222"/>
                        <a:pt x="1186" y="1222"/>
                        <a:pt x="1186" y="1222"/>
                      </a:cubicBezTo>
                      <a:cubicBezTo>
                        <a:pt x="1189" y="1222"/>
                        <a:pt x="1189" y="1222"/>
                        <a:pt x="1189" y="1222"/>
                      </a:cubicBezTo>
                      <a:cubicBezTo>
                        <a:pt x="1195" y="1224"/>
                        <a:pt x="1195" y="1224"/>
                        <a:pt x="1195" y="1224"/>
                      </a:cubicBezTo>
                      <a:cubicBezTo>
                        <a:pt x="1196" y="1227"/>
                        <a:pt x="1196" y="1227"/>
                        <a:pt x="1196" y="1227"/>
                      </a:cubicBezTo>
                      <a:cubicBezTo>
                        <a:pt x="1201" y="1229"/>
                        <a:pt x="1201" y="1229"/>
                        <a:pt x="1201" y="1229"/>
                      </a:cubicBezTo>
                      <a:cubicBezTo>
                        <a:pt x="1204" y="1233"/>
                        <a:pt x="1204" y="1233"/>
                        <a:pt x="1204" y="1233"/>
                      </a:cubicBezTo>
                      <a:cubicBezTo>
                        <a:pt x="1206" y="1234"/>
                        <a:pt x="1208" y="1235"/>
                        <a:pt x="1211" y="1236"/>
                      </a:cubicBezTo>
                      <a:cubicBezTo>
                        <a:pt x="1211" y="1236"/>
                        <a:pt x="1211" y="1236"/>
                        <a:pt x="1211" y="1236"/>
                      </a:cubicBezTo>
                      <a:cubicBezTo>
                        <a:pt x="1220" y="1237"/>
                        <a:pt x="1220" y="1237"/>
                        <a:pt x="1220" y="1237"/>
                      </a:cubicBezTo>
                      <a:cubicBezTo>
                        <a:pt x="1225" y="1241"/>
                        <a:pt x="1225" y="1241"/>
                        <a:pt x="1225" y="1241"/>
                      </a:cubicBezTo>
                      <a:cubicBezTo>
                        <a:pt x="1229" y="1241"/>
                        <a:pt x="1232" y="1241"/>
                        <a:pt x="1233" y="1239"/>
                      </a:cubicBezTo>
                      <a:cubicBezTo>
                        <a:pt x="1236" y="1243"/>
                        <a:pt x="1236" y="1243"/>
                        <a:pt x="1236" y="1243"/>
                      </a:cubicBezTo>
                      <a:cubicBezTo>
                        <a:pt x="1238" y="1246"/>
                        <a:pt x="1238" y="1246"/>
                        <a:pt x="1238" y="1246"/>
                      </a:cubicBezTo>
                      <a:cubicBezTo>
                        <a:pt x="1246" y="1260"/>
                        <a:pt x="1253" y="1262"/>
                        <a:pt x="1266" y="1256"/>
                      </a:cubicBezTo>
                      <a:cubicBezTo>
                        <a:pt x="1270" y="1253"/>
                        <a:pt x="1270" y="1253"/>
                        <a:pt x="1270" y="1253"/>
                      </a:cubicBezTo>
                      <a:cubicBezTo>
                        <a:pt x="1278" y="1251"/>
                        <a:pt x="1278" y="1251"/>
                        <a:pt x="1278" y="1251"/>
                      </a:cubicBezTo>
                      <a:cubicBezTo>
                        <a:pt x="1288" y="1244"/>
                        <a:pt x="1288" y="1244"/>
                        <a:pt x="1288" y="1244"/>
                      </a:cubicBezTo>
                      <a:cubicBezTo>
                        <a:pt x="1291" y="1244"/>
                        <a:pt x="1291" y="1244"/>
                        <a:pt x="1291" y="1244"/>
                      </a:cubicBezTo>
                      <a:cubicBezTo>
                        <a:pt x="1305" y="1236"/>
                        <a:pt x="1322" y="1226"/>
                        <a:pt x="1336" y="1223"/>
                      </a:cubicBezTo>
                      <a:cubicBezTo>
                        <a:pt x="1336" y="1224"/>
                        <a:pt x="1337" y="1225"/>
                        <a:pt x="1337" y="1227"/>
                      </a:cubicBezTo>
                      <a:cubicBezTo>
                        <a:pt x="1338" y="1231"/>
                        <a:pt x="1338" y="1231"/>
                        <a:pt x="1338" y="1231"/>
                      </a:cubicBezTo>
                      <a:cubicBezTo>
                        <a:pt x="1338" y="1241"/>
                        <a:pt x="1338" y="1241"/>
                        <a:pt x="1338" y="1241"/>
                      </a:cubicBezTo>
                      <a:cubicBezTo>
                        <a:pt x="1337" y="1242"/>
                        <a:pt x="1337" y="1242"/>
                        <a:pt x="1337" y="1242"/>
                      </a:cubicBezTo>
                      <a:cubicBezTo>
                        <a:pt x="1335" y="1252"/>
                        <a:pt x="1331" y="1263"/>
                        <a:pt x="1329" y="1272"/>
                      </a:cubicBezTo>
                      <a:cubicBezTo>
                        <a:pt x="1329" y="1272"/>
                        <a:pt x="1329" y="1272"/>
                        <a:pt x="1329" y="1272"/>
                      </a:cubicBezTo>
                      <a:cubicBezTo>
                        <a:pt x="1328" y="1275"/>
                        <a:pt x="1328" y="1275"/>
                        <a:pt x="1328" y="1275"/>
                      </a:cubicBezTo>
                      <a:cubicBezTo>
                        <a:pt x="1325" y="1285"/>
                        <a:pt x="1325" y="1285"/>
                        <a:pt x="1325" y="1285"/>
                      </a:cubicBezTo>
                      <a:cubicBezTo>
                        <a:pt x="1321" y="1288"/>
                        <a:pt x="1321" y="1288"/>
                        <a:pt x="1321" y="1288"/>
                      </a:cubicBezTo>
                      <a:cubicBezTo>
                        <a:pt x="1320" y="1291"/>
                        <a:pt x="1320" y="1291"/>
                        <a:pt x="1320" y="1291"/>
                      </a:cubicBezTo>
                      <a:cubicBezTo>
                        <a:pt x="1314" y="1300"/>
                        <a:pt x="1314" y="1300"/>
                        <a:pt x="1314" y="1300"/>
                      </a:cubicBezTo>
                      <a:cubicBezTo>
                        <a:pt x="1313" y="1302"/>
                        <a:pt x="1313" y="1303"/>
                        <a:pt x="1313" y="1304"/>
                      </a:cubicBezTo>
                      <a:cubicBezTo>
                        <a:pt x="1313" y="1304"/>
                        <a:pt x="1313" y="1304"/>
                        <a:pt x="1313" y="1304"/>
                      </a:cubicBezTo>
                      <a:cubicBezTo>
                        <a:pt x="1313" y="1314"/>
                        <a:pt x="1313" y="1314"/>
                        <a:pt x="1313" y="1314"/>
                      </a:cubicBezTo>
                      <a:cubicBezTo>
                        <a:pt x="1309" y="1322"/>
                        <a:pt x="1309" y="1322"/>
                        <a:pt x="1309" y="1322"/>
                      </a:cubicBezTo>
                      <a:cubicBezTo>
                        <a:pt x="1299" y="1335"/>
                        <a:pt x="1299" y="1335"/>
                        <a:pt x="1299" y="1335"/>
                      </a:cubicBezTo>
                      <a:cubicBezTo>
                        <a:pt x="1297" y="1339"/>
                        <a:pt x="1295" y="1342"/>
                        <a:pt x="1294" y="1346"/>
                      </a:cubicBezTo>
                      <a:cubicBezTo>
                        <a:pt x="1294" y="1346"/>
                        <a:pt x="1294" y="1346"/>
                        <a:pt x="1294" y="1346"/>
                      </a:cubicBezTo>
                      <a:cubicBezTo>
                        <a:pt x="1291" y="1354"/>
                        <a:pt x="1291" y="1354"/>
                        <a:pt x="1291" y="1354"/>
                      </a:cubicBezTo>
                      <a:cubicBezTo>
                        <a:pt x="1284" y="1361"/>
                        <a:pt x="1284" y="1361"/>
                        <a:pt x="1284" y="1361"/>
                      </a:cubicBezTo>
                      <a:cubicBezTo>
                        <a:pt x="1279" y="1362"/>
                        <a:pt x="1279" y="1362"/>
                        <a:pt x="1279" y="1362"/>
                      </a:cubicBezTo>
                      <a:cubicBezTo>
                        <a:pt x="1276" y="1366"/>
                        <a:pt x="1276" y="1366"/>
                        <a:pt x="1276" y="1366"/>
                      </a:cubicBezTo>
                      <a:cubicBezTo>
                        <a:pt x="1269" y="1368"/>
                        <a:pt x="1269" y="1368"/>
                        <a:pt x="1269" y="1368"/>
                      </a:cubicBezTo>
                      <a:cubicBezTo>
                        <a:pt x="1268" y="1369"/>
                        <a:pt x="1267" y="1370"/>
                        <a:pt x="1267" y="1371"/>
                      </a:cubicBezTo>
                      <a:cubicBezTo>
                        <a:pt x="1267" y="1371"/>
                        <a:pt x="1266" y="1371"/>
                        <a:pt x="1266" y="1371"/>
                      </a:cubicBezTo>
                      <a:cubicBezTo>
                        <a:pt x="1257" y="1383"/>
                        <a:pt x="1257" y="1383"/>
                        <a:pt x="1257" y="1383"/>
                      </a:cubicBezTo>
                      <a:cubicBezTo>
                        <a:pt x="1253" y="1389"/>
                        <a:pt x="1253" y="1389"/>
                        <a:pt x="1253" y="1389"/>
                      </a:cubicBezTo>
                      <a:cubicBezTo>
                        <a:pt x="1244" y="1401"/>
                        <a:pt x="1244" y="1401"/>
                        <a:pt x="1244" y="1401"/>
                      </a:cubicBezTo>
                      <a:cubicBezTo>
                        <a:pt x="1242" y="1406"/>
                        <a:pt x="1242" y="1406"/>
                        <a:pt x="1242" y="1406"/>
                      </a:cubicBezTo>
                      <a:cubicBezTo>
                        <a:pt x="1224" y="1422"/>
                        <a:pt x="1224" y="1422"/>
                        <a:pt x="1224" y="1422"/>
                      </a:cubicBezTo>
                      <a:cubicBezTo>
                        <a:pt x="1220" y="1426"/>
                        <a:pt x="1220" y="1426"/>
                        <a:pt x="1220" y="1426"/>
                      </a:cubicBezTo>
                      <a:cubicBezTo>
                        <a:pt x="1218" y="1428"/>
                        <a:pt x="1215" y="1431"/>
                        <a:pt x="1212" y="1434"/>
                      </a:cubicBezTo>
                      <a:cubicBezTo>
                        <a:pt x="1212" y="1434"/>
                        <a:pt x="1212" y="1434"/>
                        <a:pt x="1212" y="1434"/>
                      </a:cubicBezTo>
                      <a:cubicBezTo>
                        <a:pt x="1210" y="1436"/>
                        <a:pt x="1210" y="1436"/>
                        <a:pt x="1210" y="1436"/>
                      </a:cubicBezTo>
                      <a:cubicBezTo>
                        <a:pt x="1210" y="1437"/>
                        <a:pt x="1210" y="1437"/>
                        <a:pt x="1210" y="1437"/>
                      </a:cubicBezTo>
                      <a:cubicBezTo>
                        <a:pt x="1204" y="1442"/>
                        <a:pt x="1204" y="1442"/>
                        <a:pt x="1204" y="1442"/>
                      </a:cubicBezTo>
                      <a:cubicBezTo>
                        <a:pt x="1204" y="1442"/>
                        <a:pt x="1204" y="1442"/>
                        <a:pt x="1204" y="1442"/>
                      </a:cubicBezTo>
                      <a:cubicBezTo>
                        <a:pt x="1199" y="1446"/>
                        <a:pt x="1196" y="1446"/>
                        <a:pt x="1192" y="1451"/>
                      </a:cubicBezTo>
                      <a:cubicBezTo>
                        <a:pt x="1189" y="1455"/>
                        <a:pt x="1187" y="1459"/>
                        <a:pt x="1186" y="1463"/>
                      </a:cubicBezTo>
                      <a:cubicBezTo>
                        <a:pt x="1186" y="1464"/>
                        <a:pt x="1186" y="1464"/>
                        <a:pt x="1186" y="1464"/>
                      </a:cubicBezTo>
                      <a:cubicBezTo>
                        <a:pt x="1183" y="1472"/>
                        <a:pt x="1183" y="1472"/>
                        <a:pt x="1183" y="1472"/>
                      </a:cubicBezTo>
                      <a:cubicBezTo>
                        <a:pt x="1183" y="1472"/>
                        <a:pt x="1183" y="1473"/>
                        <a:pt x="1183" y="1473"/>
                      </a:cubicBezTo>
                      <a:cubicBezTo>
                        <a:pt x="1176" y="1493"/>
                        <a:pt x="1181" y="1492"/>
                        <a:pt x="1188" y="1509"/>
                      </a:cubicBezTo>
                      <a:cubicBezTo>
                        <a:pt x="1190" y="1514"/>
                        <a:pt x="1182" y="1514"/>
                        <a:pt x="1186" y="1520"/>
                      </a:cubicBezTo>
                      <a:cubicBezTo>
                        <a:pt x="1186" y="1520"/>
                        <a:pt x="1186" y="1520"/>
                        <a:pt x="1186" y="1520"/>
                      </a:cubicBezTo>
                      <a:cubicBezTo>
                        <a:pt x="1187" y="1522"/>
                        <a:pt x="1189" y="1523"/>
                        <a:pt x="1190" y="1525"/>
                      </a:cubicBezTo>
                      <a:cubicBezTo>
                        <a:pt x="1191" y="1527"/>
                        <a:pt x="1191" y="1527"/>
                        <a:pt x="1191" y="1527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1"/>
                        <a:pt x="1191" y="1531"/>
                        <a:pt x="1191" y="1531"/>
                      </a:cubicBezTo>
                      <a:cubicBezTo>
                        <a:pt x="1191" y="1532"/>
                        <a:pt x="1191" y="1532"/>
                        <a:pt x="1191" y="1532"/>
                      </a:cubicBezTo>
                      <a:cubicBezTo>
                        <a:pt x="1191" y="1533"/>
                        <a:pt x="1191" y="1533"/>
                        <a:pt x="1191" y="1533"/>
                      </a:cubicBezTo>
                      <a:cubicBezTo>
                        <a:pt x="1191" y="1538"/>
                        <a:pt x="1190" y="1544"/>
                        <a:pt x="1191" y="1550"/>
                      </a:cubicBezTo>
                      <a:cubicBezTo>
                        <a:pt x="1191" y="1553"/>
                        <a:pt x="1191" y="1553"/>
                        <a:pt x="1191" y="1553"/>
                      </a:cubicBezTo>
                      <a:cubicBezTo>
                        <a:pt x="1191" y="1553"/>
                        <a:pt x="1191" y="1553"/>
                        <a:pt x="1191" y="1553"/>
                      </a:cubicBezTo>
                      <a:cubicBezTo>
                        <a:pt x="1191" y="1558"/>
                        <a:pt x="1192" y="1562"/>
                        <a:pt x="1191" y="1565"/>
                      </a:cubicBezTo>
                      <a:cubicBezTo>
                        <a:pt x="1191" y="1571"/>
                        <a:pt x="1191" y="1571"/>
                        <a:pt x="1191" y="1571"/>
                      </a:cubicBezTo>
                      <a:cubicBezTo>
                        <a:pt x="1190" y="1574"/>
                        <a:pt x="1190" y="1574"/>
                        <a:pt x="1190" y="1574"/>
                      </a:cubicBezTo>
                      <a:cubicBezTo>
                        <a:pt x="1187" y="1575"/>
                        <a:pt x="1187" y="1575"/>
                        <a:pt x="1187" y="1575"/>
                      </a:cubicBezTo>
                      <a:cubicBezTo>
                        <a:pt x="1185" y="1577"/>
                        <a:pt x="1184" y="1578"/>
                        <a:pt x="1182" y="1580"/>
                      </a:cubicBezTo>
                      <a:cubicBezTo>
                        <a:pt x="1182" y="1580"/>
                        <a:pt x="1182" y="1580"/>
                        <a:pt x="1182" y="1580"/>
                      </a:cubicBezTo>
                      <a:cubicBezTo>
                        <a:pt x="1173" y="1587"/>
                        <a:pt x="1173" y="1587"/>
                        <a:pt x="1173" y="1587"/>
                      </a:cubicBezTo>
                      <a:cubicBezTo>
                        <a:pt x="1169" y="1591"/>
                        <a:pt x="1169" y="1591"/>
                        <a:pt x="1169" y="1591"/>
                      </a:cubicBezTo>
                      <a:cubicBezTo>
                        <a:pt x="1167" y="1591"/>
                        <a:pt x="1167" y="1591"/>
                        <a:pt x="1167" y="1591"/>
                      </a:cubicBezTo>
                      <a:cubicBezTo>
                        <a:pt x="1161" y="1595"/>
                        <a:pt x="1155" y="1598"/>
                        <a:pt x="1149" y="1602"/>
                      </a:cubicBezTo>
                      <a:cubicBezTo>
                        <a:pt x="1149" y="1602"/>
                        <a:pt x="1149" y="1602"/>
                        <a:pt x="1149" y="1602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42" y="1606"/>
                        <a:pt x="1142" y="1606"/>
                        <a:pt x="1142" y="1606"/>
                      </a:cubicBezTo>
                      <a:cubicBezTo>
                        <a:pt x="1135" y="1610"/>
                        <a:pt x="1135" y="1610"/>
                        <a:pt x="1135" y="1610"/>
                      </a:cubicBezTo>
                      <a:cubicBezTo>
                        <a:pt x="1130" y="1611"/>
                        <a:pt x="1130" y="1611"/>
                        <a:pt x="1130" y="1611"/>
                      </a:cubicBezTo>
                      <a:cubicBezTo>
                        <a:pt x="1129" y="1611"/>
                        <a:pt x="1128" y="1612"/>
                        <a:pt x="1128" y="1612"/>
                      </a:cubicBezTo>
                      <a:cubicBezTo>
                        <a:pt x="1120" y="1616"/>
                        <a:pt x="1120" y="1616"/>
                        <a:pt x="1120" y="1616"/>
                      </a:cubicBezTo>
                      <a:cubicBezTo>
                        <a:pt x="1111" y="1623"/>
                        <a:pt x="1111" y="1623"/>
                        <a:pt x="1111" y="1623"/>
                      </a:cubicBezTo>
                      <a:cubicBezTo>
                        <a:pt x="1104" y="1624"/>
                        <a:pt x="1104" y="1624"/>
                        <a:pt x="1104" y="1624"/>
                      </a:cubicBezTo>
                      <a:cubicBezTo>
                        <a:pt x="1100" y="1630"/>
                        <a:pt x="1101" y="1634"/>
                        <a:pt x="1103" y="1637"/>
                      </a:cubicBezTo>
                      <a:cubicBezTo>
                        <a:pt x="1105" y="1637"/>
                        <a:pt x="1105" y="1637"/>
                        <a:pt x="1105" y="1637"/>
                      </a:cubicBezTo>
                      <a:cubicBezTo>
                        <a:pt x="1106" y="1641"/>
                        <a:pt x="1106" y="1641"/>
                        <a:pt x="1106" y="1641"/>
                      </a:cubicBezTo>
                      <a:cubicBezTo>
                        <a:pt x="1109" y="1644"/>
                        <a:pt x="1112" y="1648"/>
                        <a:pt x="1110" y="1655"/>
                      </a:cubicBezTo>
                      <a:cubicBezTo>
                        <a:pt x="1107" y="1661"/>
                        <a:pt x="1101" y="1664"/>
                        <a:pt x="1095" y="1666"/>
                      </a:cubicBezTo>
                      <a:cubicBezTo>
                        <a:pt x="1093" y="1667"/>
                        <a:pt x="1093" y="1667"/>
                        <a:pt x="1093" y="1667"/>
                      </a:cubicBezTo>
                      <a:cubicBezTo>
                        <a:pt x="1091" y="1667"/>
                        <a:pt x="1091" y="1667"/>
                        <a:pt x="1091" y="1667"/>
                      </a:cubicBezTo>
                      <a:cubicBezTo>
                        <a:pt x="1083" y="1668"/>
                        <a:pt x="1076" y="1670"/>
                        <a:pt x="1072" y="1674"/>
                      </a:cubicBezTo>
                      <a:cubicBezTo>
                        <a:pt x="1072" y="1674"/>
                        <a:pt x="1072" y="1674"/>
                        <a:pt x="1072" y="1674"/>
                      </a:cubicBezTo>
                      <a:cubicBezTo>
                        <a:pt x="1070" y="1675"/>
                        <a:pt x="1070" y="1675"/>
                        <a:pt x="1070" y="1675"/>
                      </a:cubicBezTo>
                      <a:cubicBezTo>
                        <a:pt x="1069" y="1675"/>
                        <a:pt x="1069" y="1675"/>
                        <a:pt x="1069" y="1675"/>
                      </a:cubicBezTo>
                      <a:cubicBezTo>
                        <a:pt x="1067" y="1675"/>
                        <a:pt x="1066" y="1674"/>
                        <a:pt x="1065" y="1674"/>
                      </a:cubicBezTo>
                      <a:cubicBezTo>
                        <a:pt x="1063" y="1674"/>
                        <a:pt x="1063" y="1674"/>
                        <a:pt x="1063" y="1674"/>
                      </a:cubicBezTo>
                      <a:cubicBezTo>
                        <a:pt x="1062" y="1675"/>
                        <a:pt x="1062" y="1676"/>
                        <a:pt x="1062" y="1679"/>
                      </a:cubicBezTo>
                      <a:cubicBezTo>
                        <a:pt x="1062" y="1679"/>
                        <a:pt x="1062" y="1679"/>
                        <a:pt x="1062" y="1679"/>
                      </a:cubicBezTo>
                      <a:cubicBezTo>
                        <a:pt x="1062" y="1683"/>
                        <a:pt x="1062" y="1683"/>
                        <a:pt x="1062" y="1683"/>
                      </a:cubicBezTo>
                      <a:cubicBezTo>
                        <a:pt x="1060" y="1684"/>
                        <a:pt x="1060" y="1684"/>
                        <a:pt x="1060" y="1684"/>
                      </a:cubicBezTo>
                      <a:cubicBezTo>
                        <a:pt x="1057" y="1687"/>
                        <a:pt x="1053" y="1690"/>
                        <a:pt x="1050" y="1693"/>
                      </a:cubicBezTo>
                      <a:cubicBezTo>
                        <a:pt x="1050" y="1693"/>
                        <a:pt x="1050" y="1693"/>
                        <a:pt x="1050" y="1693"/>
                      </a:cubicBezTo>
                      <a:cubicBezTo>
                        <a:pt x="1049" y="1695"/>
                        <a:pt x="1049" y="1695"/>
                        <a:pt x="1049" y="1695"/>
                      </a:cubicBezTo>
                      <a:cubicBezTo>
                        <a:pt x="1048" y="1695"/>
                        <a:pt x="1048" y="1695"/>
                        <a:pt x="1048" y="1695"/>
                      </a:cubicBezTo>
                      <a:cubicBezTo>
                        <a:pt x="1042" y="1699"/>
                        <a:pt x="1034" y="1701"/>
                        <a:pt x="1027" y="1703"/>
                      </a:cubicBezTo>
                      <a:cubicBezTo>
                        <a:pt x="1023" y="1707"/>
                        <a:pt x="1023" y="1707"/>
                        <a:pt x="1023" y="1707"/>
                      </a:cubicBezTo>
                      <a:cubicBezTo>
                        <a:pt x="1011" y="1708"/>
                        <a:pt x="1011" y="1708"/>
                        <a:pt x="1011" y="1708"/>
                      </a:cubicBezTo>
                      <a:cubicBezTo>
                        <a:pt x="1001" y="1713"/>
                        <a:pt x="1001" y="1713"/>
                        <a:pt x="1001" y="1713"/>
                      </a:cubicBezTo>
                      <a:cubicBezTo>
                        <a:pt x="985" y="1722"/>
                        <a:pt x="985" y="1722"/>
                        <a:pt x="985" y="1722"/>
                      </a:cubicBezTo>
                      <a:cubicBezTo>
                        <a:pt x="980" y="1726"/>
                        <a:pt x="980" y="1726"/>
                        <a:pt x="980" y="1726"/>
                      </a:cubicBezTo>
                      <a:cubicBezTo>
                        <a:pt x="968" y="1726"/>
                        <a:pt x="968" y="1726"/>
                        <a:pt x="968" y="1726"/>
                      </a:cubicBezTo>
                      <a:cubicBezTo>
                        <a:pt x="961" y="1728"/>
                        <a:pt x="961" y="1728"/>
                        <a:pt x="961" y="1728"/>
                      </a:cubicBezTo>
                      <a:cubicBezTo>
                        <a:pt x="960" y="1728"/>
                        <a:pt x="960" y="1728"/>
                        <a:pt x="960" y="1728"/>
                      </a:cubicBezTo>
                      <a:cubicBezTo>
                        <a:pt x="950" y="1730"/>
                        <a:pt x="938" y="1732"/>
                        <a:pt x="927" y="1732"/>
                      </a:cubicBezTo>
                      <a:cubicBezTo>
                        <a:pt x="926" y="1732"/>
                        <a:pt x="926" y="1732"/>
                        <a:pt x="926" y="1732"/>
                      </a:cubicBezTo>
                      <a:cubicBezTo>
                        <a:pt x="916" y="1732"/>
                        <a:pt x="916" y="1732"/>
                        <a:pt x="916" y="1732"/>
                      </a:cubicBezTo>
                      <a:cubicBezTo>
                        <a:pt x="912" y="1733"/>
                        <a:pt x="912" y="1733"/>
                        <a:pt x="912" y="1733"/>
                      </a:cubicBezTo>
                      <a:cubicBezTo>
                        <a:pt x="904" y="1733"/>
                        <a:pt x="904" y="1733"/>
                        <a:pt x="904" y="1733"/>
                      </a:cubicBezTo>
                      <a:cubicBezTo>
                        <a:pt x="902" y="1732"/>
                        <a:pt x="902" y="1732"/>
                        <a:pt x="902" y="1732"/>
                      </a:cubicBezTo>
                      <a:cubicBezTo>
                        <a:pt x="899" y="1732"/>
                        <a:pt x="896" y="1732"/>
                        <a:pt x="893" y="1732"/>
                      </a:cubicBezTo>
                      <a:cubicBezTo>
                        <a:pt x="887" y="1734"/>
                        <a:pt x="887" y="1734"/>
                        <a:pt x="887" y="1734"/>
                      </a:cubicBezTo>
                      <a:cubicBezTo>
                        <a:pt x="886" y="1734"/>
                        <a:pt x="884" y="1735"/>
                        <a:pt x="883" y="1736"/>
                      </a:cubicBezTo>
                      <a:cubicBezTo>
                        <a:pt x="883" y="1736"/>
                        <a:pt x="883" y="1736"/>
                        <a:pt x="883" y="1736"/>
                      </a:cubicBezTo>
                      <a:cubicBezTo>
                        <a:pt x="876" y="1740"/>
                        <a:pt x="876" y="1740"/>
                        <a:pt x="876" y="1740"/>
                      </a:cubicBezTo>
                      <a:cubicBezTo>
                        <a:pt x="874" y="1739"/>
                        <a:pt x="874" y="1739"/>
                        <a:pt x="874" y="1739"/>
                      </a:cubicBezTo>
                      <a:cubicBezTo>
                        <a:pt x="870" y="1740"/>
                        <a:pt x="866" y="1740"/>
                        <a:pt x="863" y="1738"/>
                      </a:cubicBezTo>
                      <a:cubicBezTo>
                        <a:pt x="856" y="1735"/>
                        <a:pt x="856" y="1735"/>
                        <a:pt x="856" y="1735"/>
                      </a:cubicBezTo>
                      <a:cubicBezTo>
                        <a:pt x="854" y="1731"/>
                        <a:pt x="854" y="1731"/>
                        <a:pt x="854" y="1731"/>
                      </a:cubicBezTo>
                      <a:cubicBezTo>
                        <a:pt x="856" y="1726"/>
                        <a:pt x="856" y="1726"/>
                        <a:pt x="856" y="1726"/>
                      </a:cubicBezTo>
                      <a:cubicBezTo>
                        <a:pt x="854" y="1724"/>
                        <a:pt x="852" y="1721"/>
                        <a:pt x="849" y="1718"/>
                      </a:cubicBezTo>
                      <a:cubicBezTo>
                        <a:pt x="848" y="1716"/>
                        <a:pt x="848" y="1716"/>
                        <a:pt x="848" y="1716"/>
                      </a:cubicBezTo>
                      <a:cubicBezTo>
                        <a:pt x="842" y="1712"/>
                        <a:pt x="842" y="1712"/>
                        <a:pt x="842" y="1712"/>
                      </a:cubicBezTo>
                      <a:cubicBezTo>
                        <a:pt x="836" y="1708"/>
                        <a:pt x="836" y="1708"/>
                        <a:pt x="836" y="1708"/>
                      </a:cubicBezTo>
                      <a:cubicBezTo>
                        <a:pt x="834" y="1702"/>
                        <a:pt x="834" y="1702"/>
                        <a:pt x="834" y="1702"/>
                      </a:cubicBezTo>
                      <a:cubicBezTo>
                        <a:pt x="833" y="1701"/>
                        <a:pt x="832" y="1700"/>
                        <a:pt x="831" y="1699"/>
                      </a:cubicBezTo>
                      <a:cubicBezTo>
                        <a:pt x="827" y="1697"/>
                        <a:pt x="827" y="1697"/>
                        <a:pt x="827" y="1697"/>
                      </a:cubicBezTo>
                      <a:cubicBezTo>
                        <a:pt x="826" y="1696"/>
                        <a:pt x="826" y="1696"/>
                        <a:pt x="826" y="1696"/>
                      </a:cubicBezTo>
                      <a:cubicBezTo>
                        <a:pt x="825" y="1695"/>
                        <a:pt x="823" y="1694"/>
                        <a:pt x="821" y="1694"/>
                      </a:cubicBezTo>
                      <a:cubicBezTo>
                        <a:pt x="818" y="1693"/>
                        <a:pt x="818" y="1693"/>
                        <a:pt x="818" y="1693"/>
                      </a:cubicBezTo>
                      <a:cubicBezTo>
                        <a:pt x="817" y="1692"/>
                        <a:pt x="817" y="1692"/>
                        <a:pt x="817" y="1692"/>
                      </a:cubicBezTo>
                      <a:cubicBezTo>
                        <a:pt x="814" y="1691"/>
                        <a:pt x="811" y="1689"/>
                        <a:pt x="808" y="1687"/>
                      </a:cubicBezTo>
                      <a:cubicBezTo>
                        <a:pt x="808" y="1687"/>
                        <a:pt x="808" y="1687"/>
                        <a:pt x="808" y="1687"/>
                      </a:cubicBezTo>
                      <a:cubicBezTo>
                        <a:pt x="796" y="1677"/>
                        <a:pt x="796" y="1677"/>
                        <a:pt x="796" y="1677"/>
                      </a:cubicBezTo>
                      <a:cubicBezTo>
                        <a:pt x="793" y="1673"/>
                        <a:pt x="793" y="1673"/>
                        <a:pt x="793" y="1673"/>
                      </a:cubicBezTo>
                      <a:cubicBezTo>
                        <a:pt x="794" y="1669"/>
                        <a:pt x="794" y="1669"/>
                        <a:pt x="794" y="1669"/>
                      </a:cubicBezTo>
                      <a:cubicBezTo>
                        <a:pt x="791" y="1663"/>
                        <a:pt x="789" y="1657"/>
                        <a:pt x="783" y="1650"/>
                      </a:cubicBezTo>
                      <a:cubicBezTo>
                        <a:pt x="779" y="1644"/>
                        <a:pt x="771" y="1639"/>
                        <a:pt x="766" y="1632"/>
                      </a:cubicBezTo>
                      <a:cubicBezTo>
                        <a:pt x="763" y="1632"/>
                        <a:pt x="763" y="1632"/>
                        <a:pt x="763" y="1632"/>
                      </a:cubicBezTo>
                      <a:cubicBezTo>
                        <a:pt x="763" y="1629"/>
                        <a:pt x="763" y="1629"/>
                        <a:pt x="763" y="1629"/>
                      </a:cubicBezTo>
                      <a:cubicBezTo>
                        <a:pt x="761" y="1625"/>
                        <a:pt x="759" y="1622"/>
                        <a:pt x="758" y="1618"/>
                      </a:cubicBezTo>
                      <a:cubicBezTo>
                        <a:pt x="758" y="1613"/>
                        <a:pt x="758" y="1613"/>
                        <a:pt x="758" y="1613"/>
                      </a:cubicBezTo>
                      <a:cubicBezTo>
                        <a:pt x="759" y="1611"/>
                        <a:pt x="759" y="1611"/>
                        <a:pt x="759" y="1611"/>
                      </a:cubicBezTo>
                      <a:cubicBezTo>
                        <a:pt x="760" y="1602"/>
                        <a:pt x="765" y="1590"/>
                        <a:pt x="769" y="1582"/>
                      </a:cubicBezTo>
                      <a:cubicBezTo>
                        <a:pt x="770" y="1579"/>
                        <a:pt x="770" y="1579"/>
                        <a:pt x="770" y="1579"/>
                      </a:cubicBezTo>
                      <a:cubicBezTo>
                        <a:pt x="773" y="1576"/>
                        <a:pt x="773" y="1576"/>
                        <a:pt x="773" y="1576"/>
                      </a:cubicBezTo>
                      <a:cubicBezTo>
                        <a:pt x="775" y="1574"/>
                        <a:pt x="776" y="1571"/>
                        <a:pt x="777" y="1569"/>
                      </a:cubicBezTo>
                      <a:cubicBezTo>
                        <a:pt x="777" y="1566"/>
                        <a:pt x="777" y="1566"/>
                        <a:pt x="777" y="1566"/>
                      </a:cubicBezTo>
                      <a:cubicBezTo>
                        <a:pt x="777" y="1562"/>
                        <a:pt x="775" y="1558"/>
                        <a:pt x="773" y="1554"/>
                      </a:cubicBezTo>
                      <a:cubicBezTo>
                        <a:pt x="773" y="1554"/>
                        <a:pt x="773" y="1554"/>
                        <a:pt x="773" y="1554"/>
                      </a:cubicBezTo>
                      <a:cubicBezTo>
                        <a:pt x="773" y="1553"/>
                        <a:pt x="773" y="1553"/>
                        <a:pt x="773" y="1553"/>
                      </a:cubicBezTo>
                      <a:cubicBezTo>
                        <a:pt x="771" y="1550"/>
                        <a:pt x="771" y="1547"/>
                        <a:pt x="772" y="1544"/>
                      </a:cubicBezTo>
                      <a:cubicBezTo>
                        <a:pt x="772" y="1544"/>
                        <a:pt x="772" y="1544"/>
                        <a:pt x="772" y="1544"/>
                      </a:cubicBezTo>
                      <a:cubicBezTo>
                        <a:pt x="773" y="1542"/>
                        <a:pt x="773" y="1542"/>
                        <a:pt x="773" y="1542"/>
                      </a:cubicBezTo>
                      <a:cubicBezTo>
                        <a:pt x="774" y="1542"/>
                        <a:pt x="774" y="1541"/>
                        <a:pt x="775" y="1540"/>
                      </a:cubicBezTo>
                      <a:cubicBezTo>
                        <a:pt x="775" y="1536"/>
                        <a:pt x="775" y="1536"/>
                        <a:pt x="775" y="1536"/>
                      </a:cubicBezTo>
                      <a:cubicBezTo>
                        <a:pt x="774" y="1531"/>
                        <a:pt x="774" y="1531"/>
                        <a:pt x="774" y="1531"/>
                      </a:cubicBezTo>
                      <a:cubicBezTo>
                        <a:pt x="771" y="1525"/>
                        <a:pt x="771" y="1525"/>
                        <a:pt x="771" y="1525"/>
                      </a:cubicBezTo>
                      <a:cubicBezTo>
                        <a:pt x="770" y="1524"/>
                        <a:pt x="770" y="1524"/>
                        <a:pt x="770" y="1524"/>
                      </a:cubicBezTo>
                      <a:cubicBezTo>
                        <a:pt x="770" y="1522"/>
                        <a:pt x="770" y="1522"/>
                        <a:pt x="770" y="1522"/>
                      </a:cubicBezTo>
                      <a:cubicBezTo>
                        <a:pt x="769" y="1520"/>
                        <a:pt x="769" y="1520"/>
                        <a:pt x="769" y="1520"/>
                      </a:cubicBezTo>
                      <a:cubicBezTo>
                        <a:pt x="770" y="1517"/>
                        <a:pt x="770" y="1517"/>
                        <a:pt x="770" y="1517"/>
                      </a:cubicBezTo>
                      <a:cubicBezTo>
                        <a:pt x="770" y="1516"/>
                        <a:pt x="769" y="1515"/>
                        <a:pt x="769" y="1513"/>
                      </a:cubicBezTo>
                      <a:cubicBezTo>
                        <a:pt x="767" y="1512"/>
                        <a:pt x="767" y="1512"/>
                        <a:pt x="767" y="1512"/>
                      </a:cubicBezTo>
                      <a:cubicBezTo>
                        <a:pt x="766" y="1508"/>
                        <a:pt x="766" y="1508"/>
                        <a:pt x="766" y="1508"/>
                      </a:cubicBezTo>
                      <a:cubicBezTo>
                        <a:pt x="764" y="1506"/>
                        <a:pt x="763" y="1504"/>
                        <a:pt x="762" y="1502"/>
                      </a:cubicBezTo>
                      <a:cubicBezTo>
                        <a:pt x="756" y="1498"/>
                        <a:pt x="756" y="1498"/>
                        <a:pt x="756" y="1498"/>
                      </a:cubicBezTo>
                      <a:cubicBezTo>
                        <a:pt x="755" y="1494"/>
                        <a:pt x="755" y="1494"/>
                        <a:pt x="755" y="1494"/>
                      </a:cubicBezTo>
                      <a:cubicBezTo>
                        <a:pt x="750" y="1491"/>
                        <a:pt x="750" y="1491"/>
                        <a:pt x="750" y="1491"/>
                      </a:cubicBezTo>
                      <a:cubicBezTo>
                        <a:pt x="749" y="1491"/>
                        <a:pt x="749" y="1490"/>
                        <a:pt x="748" y="1490"/>
                      </a:cubicBezTo>
                      <a:cubicBezTo>
                        <a:pt x="748" y="1490"/>
                        <a:pt x="748" y="1490"/>
                        <a:pt x="748" y="1490"/>
                      </a:cubicBezTo>
                      <a:cubicBezTo>
                        <a:pt x="746" y="1490"/>
                        <a:pt x="746" y="1490"/>
                        <a:pt x="746" y="1490"/>
                      </a:cubicBezTo>
                      <a:cubicBezTo>
                        <a:pt x="746" y="1489"/>
                        <a:pt x="746" y="1489"/>
                        <a:pt x="746" y="1489"/>
                      </a:cubicBezTo>
                      <a:cubicBezTo>
                        <a:pt x="741" y="1486"/>
                        <a:pt x="733" y="1476"/>
                        <a:pt x="729" y="1469"/>
                      </a:cubicBezTo>
                      <a:cubicBezTo>
                        <a:pt x="727" y="1467"/>
                        <a:pt x="727" y="1467"/>
                        <a:pt x="727" y="1467"/>
                      </a:cubicBezTo>
                      <a:cubicBezTo>
                        <a:pt x="726" y="1462"/>
                        <a:pt x="726" y="1462"/>
                        <a:pt x="726" y="1462"/>
                      </a:cubicBezTo>
                      <a:cubicBezTo>
                        <a:pt x="726" y="1460"/>
                        <a:pt x="724" y="1458"/>
                        <a:pt x="722" y="1457"/>
                      </a:cubicBezTo>
                      <a:cubicBezTo>
                        <a:pt x="719" y="1456"/>
                        <a:pt x="719" y="1456"/>
                        <a:pt x="719" y="1456"/>
                      </a:cubicBezTo>
                      <a:cubicBezTo>
                        <a:pt x="719" y="1453"/>
                        <a:pt x="719" y="1453"/>
                        <a:pt x="719" y="1453"/>
                      </a:cubicBezTo>
                      <a:cubicBezTo>
                        <a:pt x="718" y="1453"/>
                        <a:pt x="718" y="1452"/>
                        <a:pt x="719" y="1450"/>
                      </a:cubicBezTo>
                      <a:cubicBezTo>
                        <a:pt x="718" y="1449"/>
                        <a:pt x="718" y="1449"/>
                        <a:pt x="718" y="1449"/>
                      </a:cubicBezTo>
                      <a:cubicBezTo>
                        <a:pt x="721" y="1447"/>
                        <a:pt x="721" y="1447"/>
                        <a:pt x="721" y="1447"/>
                      </a:cubicBezTo>
                      <a:cubicBezTo>
                        <a:pt x="721" y="1447"/>
                        <a:pt x="721" y="1447"/>
                        <a:pt x="721" y="1447"/>
                      </a:cubicBezTo>
                      <a:cubicBezTo>
                        <a:pt x="722" y="1446"/>
                        <a:pt x="723" y="1444"/>
                        <a:pt x="724" y="1443"/>
                      </a:cubicBezTo>
                      <a:cubicBezTo>
                        <a:pt x="724" y="1439"/>
                        <a:pt x="724" y="1439"/>
                        <a:pt x="724" y="1439"/>
                      </a:cubicBezTo>
                      <a:cubicBezTo>
                        <a:pt x="727" y="1437"/>
                        <a:pt x="727" y="1437"/>
                        <a:pt x="727" y="1437"/>
                      </a:cubicBezTo>
                      <a:cubicBezTo>
                        <a:pt x="728" y="1436"/>
                        <a:pt x="728" y="1434"/>
                        <a:pt x="728" y="1434"/>
                      </a:cubicBezTo>
                      <a:cubicBezTo>
                        <a:pt x="728" y="1433"/>
                        <a:pt x="728" y="1433"/>
                        <a:pt x="728" y="1433"/>
                      </a:cubicBezTo>
                      <a:cubicBezTo>
                        <a:pt x="728" y="1432"/>
                        <a:pt x="728" y="1432"/>
                        <a:pt x="728" y="1431"/>
                      </a:cubicBezTo>
                      <a:cubicBezTo>
                        <a:pt x="727" y="1429"/>
                        <a:pt x="727" y="1429"/>
                        <a:pt x="727" y="1429"/>
                      </a:cubicBezTo>
                      <a:cubicBezTo>
                        <a:pt x="728" y="1423"/>
                        <a:pt x="728" y="1423"/>
                        <a:pt x="728" y="1423"/>
                      </a:cubicBezTo>
                      <a:cubicBezTo>
                        <a:pt x="729" y="1417"/>
                        <a:pt x="729" y="1417"/>
                        <a:pt x="729" y="1417"/>
                      </a:cubicBezTo>
                      <a:cubicBezTo>
                        <a:pt x="729" y="1404"/>
                        <a:pt x="729" y="1404"/>
                        <a:pt x="729" y="1404"/>
                      </a:cubicBezTo>
                      <a:cubicBezTo>
                        <a:pt x="730" y="1401"/>
                        <a:pt x="730" y="1401"/>
                        <a:pt x="730" y="1401"/>
                      </a:cubicBezTo>
                      <a:cubicBezTo>
                        <a:pt x="730" y="1400"/>
                        <a:pt x="730" y="1400"/>
                        <a:pt x="729" y="1399"/>
                      </a:cubicBezTo>
                      <a:cubicBezTo>
                        <a:pt x="729" y="1399"/>
                        <a:pt x="729" y="1399"/>
                        <a:pt x="729" y="1399"/>
                      </a:cubicBezTo>
                      <a:cubicBezTo>
                        <a:pt x="729" y="1399"/>
                        <a:pt x="728" y="1398"/>
                        <a:pt x="727" y="1398"/>
                      </a:cubicBezTo>
                      <a:cubicBezTo>
                        <a:pt x="723" y="1401"/>
                        <a:pt x="723" y="1401"/>
                        <a:pt x="723" y="1401"/>
                      </a:cubicBezTo>
                      <a:cubicBezTo>
                        <a:pt x="721" y="1400"/>
                        <a:pt x="721" y="1400"/>
                        <a:pt x="721" y="1400"/>
                      </a:cubicBezTo>
                      <a:cubicBezTo>
                        <a:pt x="721" y="1400"/>
                        <a:pt x="721" y="1400"/>
                        <a:pt x="720" y="1400"/>
                      </a:cubicBezTo>
                      <a:cubicBezTo>
                        <a:pt x="719" y="1400"/>
                        <a:pt x="719" y="1400"/>
                        <a:pt x="719" y="1400"/>
                      </a:cubicBezTo>
                      <a:cubicBezTo>
                        <a:pt x="718" y="1396"/>
                        <a:pt x="718" y="1396"/>
                        <a:pt x="718" y="1396"/>
                      </a:cubicBezTo>
                      <a:cubicBezTo>
                        <a:pt x="718" y="1395"/>
                        <a:pt x="717" y="1394"/>
                        <a:pt x="716" y="1392"/>
                      </a:cubicBezTo>
                      <a:cubicBezTo>
                        <a:pt x="714" y="1391"/>
                        <a:pt x="714" y="1391"/>
                        <a:pt x="714" y="1391"/>
                      </a:cubicBezTo>
                      <a:cubicBezTo>
                        <a:pt x="713" y="1388"/>
                        <a:pt x="713" y="1388"/>
                        <a:pt x="713" y="1388"/>
                      </a:cubicBezTo>
                      <a:cubicBezTo>
                        <a:pt x="712" y="1387"/>
                        <a:pt x="711" y="1386"/>
                        <a:pt x="710" y="1386"/>
                      </a:cubicBezTo>
                      <a:cubicBezTo>
                        <a:pt x="708" y="1392"/>
                        <a:pt x="708" y="1392"/>
                        <a:pt x="708" y="1392"/>
                      </a:cubicBezTo>
                      <a:cubicBezTo>
                        <a:pt x="698" y="1393"/>
                        <a:pt x="698" y="1393"/>
                        <a:pt x="698" y="1393"/>
                      </a:cubicBezTo>
                      <a:cubicBezTo>
                        <a:pt x="698" y="1393"/>
                        <a:pt x="698" y="1393"/>
                        <a:pt x="698" y="1393"/>
                      </a:cubicBezTo>
                      <a:cubicBezTo>
                        <a:pt x="696" y="1393"/>
                        <a:pt x="690" y="1394"/>
                        <a:pt x="688" y="1394"/>
                      </a:cubicBezTo>
                      <a:cubicBezTo>
                        <a:pt x="688" y="1394"/>
                        <a:pt x="688" y="1394"/>
                        <a:pt x="688" y="1394"/>
                      </a:cubicBezTo>
                      <a:cubicBezTo>
                        <a:pt x="678" y="1394"/>
                        <a:pt x="678" y="1394"/>
                        <a:pt x="678" y="1394"/>
                      </a:cubicBezTo>
                      <a:cubicBezTo>
                        <a:pt x="676" y="1392"/>
                        <a:pt x="676" y="1392"/>
                        <a:pt x="676" y="1392"/>
                      </a:cubicBezTo>
                      <a:cubicBezTo>
                        <a:pt x="674" y="1392"/>
                        <a:pt x="672" y="1390"/>
                        <a:pt x="670" y="1388"/>
                      </a:cubicBezTo>
                      <a:cubicBezTo>
                        <a:pt x="670" y="1388"/>
                        <a:pt x="670" y="1388"/>
                        <a:pt x="670" y="1388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9" y="1385"/>
                        <a:pt x="669" y="1385"/>
                        <a:pt x="669" y="1385"/>
                      </a:cubicBezTo>
                      <a:cubicBezTo>
                        <a:pt x="668" y="1383"/>
                        <a:pt x="668" y="1383"/>
                        <a:pt x="668" y="1383"/>
                      </a:cubicBezTo>
                      <a:cubicBezTo>
                        <a:pt x="668" y="1382"/>
                        <a:pt x="668" y="1382"/>
                        <a:pt x="668" y="1382"/>
                      </a:cubicBezTo>
                      <a:cubicBezTo>
                        <a:pt x="667" y="1377"/>
                        <a:pt x="668" y="1372"/>
                        <a:pt x="666" y="1368"/>
                      </a:cubicBezTo>
                      <a:cubicBezTo>
                        <a:pt x="662" y="1366"/>
                        <a:pt x="662" y="1366"/>
                        <a:pt x="662" y="1366"/>
                      </a:cubicBezTo>
                      <a:cubicBezTo>
                        <a:pt x="659" y="1362"/>
                        <a:pt x="659" y="1362"/>
                        <a:pt x="659" y="1362"/>
                      </a:cubicBezTo>
                      <a:cubicBezTo>
                        <a:pt x="658" y="1361"/>
                        <a:pt x="656" y="1360"/>
                        <a:pt x="653" y="1360"/>
                      </a:cubicBezTo>
                      <a:cubicBezTo>
                        <a:pt x="647" y="1360"/>
                        <a:pt x="647" y="1360"/>
                        <a:pt x="647" y="1360"/>
                      </a:cubicBezTo>
                      <a:cubicBezTo>
                        <a:pt x="632" y="1356"/>
                        <a:pt x="632" y="1356"/>
                        <a:pt x="632" y="1356"/>
                      </a:cubicBezTo>
                      <a:cubicBezTo>
                        <a:pt x="629" y="1357"/>
                        <a:pt x="629" y="1357"/>
                        <a:pt x="629" y="1357"/>
                      </a:cubicBezTo>
                      <a:cubicBezTo>
                        <a:pt x="619" y="1358"/>
                        <a:pt x="619" y="1358"/>
                        <a:pt x="619" y="1358"/>
                      </a:cubicBezTo>
                      <a:cubicBezTo>
                        <a:pt x="608" y="1356"/>
                        <a:pt x="608" y="1356"/>
                        <a:pt x="608" y="1356"/>
                      </a:cubicBezTo>
                      <a:cubicBezTo>
                        <a:pt x="605" y="1356"/>
                        <a:pt x="605" y="1356"/>
                        <a:pt x="605" y="1356"/>
                      </a:cubicBezTo>
                      <a:cubicBezTo>
                        <a:pt x="595" y="1356"/>
                        <a:pt x="585" y="1357"/>
                        <a:pt x="576" y="1356"/>
                      </a:cubicBezTo>
                      <a:cubicBezTo>
                        <a:pt x="575" y="1357"/>
                        <a:pt x="575" y="1357"/>
                        <a:pt x="575" y="1357"/>
                      </a:cubicBezTo>
                      <a:cubicBezTo>
                        <a:pt x="574" y="1356"/>
                        <a:pt x="574" y="1356"/>
                        <a:pt x="574" y="1356"/>
                      </a:cubicBezTo>
                      <a:cubicBezTo>
                        <a:pt x="570" y="1356"/>
                        <a:pt x="567" y="1356"/>
                        <a:pt x="564" y="1356"/>
                      </a:cubicBezTo>
                      <a:cubicBezTo>
                        <a:pt x="562" y="1356"/>
                        <a:pt x="562" y="1356"/>
                        <a:pt x="562" y="1356"/>
                      </a:cubicBezTo>
                      <a:cubicBezTo>
                        <a:pt x="554" y="1358"/>
                        <a:pt x="554" y="1358"/>
                        <a:pt x="554" y="1358"/>
                      </a:cubicBezTo>
                      <a:cubicBezTo>
                        <a:pt x="547" y="1355"/>
                        <a:pt x="547" y="1355"/>
                        <a:pt x="547" y="1355"/>
                      </a:cubicBezTo>
                      <a:cubicBezTo>
                        <a:pt x="539" y="1349"/>
                        <a:pt x="539" y="1349"/>
                        <a:pt x="539" y="1349"/>
                      </a:cubicBezTo>
                      <a:cubicBezTo>
                        <a:pt x="531" y="1345"/>
                        <a:pt x="531" y="1345"/>
                        <a:pt x="531" y="1345"/>
                      </a:cubicBezTo>
                      <a:cubicBezTo>
                        <a:pt x="530" y="1344"/>
                        <a:pt x="530" y="1344"/>
                        <a:pt x="530" y="1344"/>
                      </a:cubicBezTo>
                      <a:cubicBezTo>
                        <a:pt x="532" y="1343"/>
                        <a:pt x="533" y="1343"/>
                        <a:pt x="535" y="1343"/>
                      </a:cubicBezTo>
                      <a:cubicBezTo>
                        <a:pt x="524" y="1339"/>
                        <a:pt x="524" y="1339"/>
                        <a:pt x="524" y="1339"/>
                      </a:cubicBezTo>
                      <a:cubicBezTo>
                        <a:pt x="524" y="1339"/>
                        <a:pt x="524" y="1340"/>
                        <a:pt x="527" y="1341"/>
                      </a:cubicBezTo>
                      <a:cubicBezTo>
                        <a:pt x="526" y="1343"/>
                        <a:pt x="526" y="1343"/>
                        <a:pt x="526" y="1343"/>
                      </a:cubicBezTo>
                      <a:cubicBezTo>
                        <a:pt x="521" y="1342"/>
                        <a:pt x="521" y="1342"/>
                        <a:pt x="521" y="1342"/>
                      </a:cubicBezTo>
                      <a:cubicBezTo>
                        <a:pt x="510" y="1342"/>
                        <a:pt x="500" y="1340"/>
                        <a:pt x="491" y="1337"/>
                      </a:cubicBezTo>
                      <a:cubicBezTo>
                        <a:pt x="485" y="1337"/>
                        <a:pt x="485" y="1337"/>
                        <a:pt x="485" y="1337"/>
                      </a:cubicBezTo>
                      <a:cubicBezTo>
                        <a:pt x="476" y="1333"/>
                        <a:pt x="476" y="1333"/>
                        <a:pt x="476" y="1333"/>
                      </a:cubicBezTo>
                      <a:cubicBezTo>
                        <a:pt x="471" y="1331"/>
                        <a:pt x="471" y="1331"/>
                        <a:pt x="471" y="1331"/>
                      </a:cubicBezTo>
                      <a:cubicBezTo>
                        <a:pt x="464" y="1324"/>
                        <a:pt x="464" y="1324"/>
                        <a:pt x="464" y="1324"/>
                      </a:cubicBezTo>
                      <a:cubicBezTo>
                        <a:pt x="459" y="1322"/>
                        <a:pt x="459" y="1322"/>
                        <a:pt x="459" y="1322"/>
                      </a:cubicBezTo>
                      <a:cubicBezTo>
                        <a:pt x="452" y="1318"/>
                        <a:pt x="452" y="1318"/>
                        <a:pt x="452" y="1318"/>
                      </a:cubicBezTo>
                      <a:cubicBezTo>
                        <a:pt x="447" y="1311"/>
                        <a:pt x="447" y="1311"/>
                        <a:pt x="447" y="1311"/>
                      </a:cubicBezTo>
                      <a:cubicBezTo>
                        <a:pt x="441" y="1308"/>
                        <a:pt x="441" y="1308"/>
                        <a:pt x="441" y="1308"/>
                      </a:cubicBezTo>
                      <a:cubicBezTo>
                        <a:pt x="438" y="1302"/>
                        <a:pt x="438" y="1302"/>
                        <a:pt x="438" y="1302"/>
                      </a:cubicBezTo>
                      <a:cubicBezTo>
                        <a:pt x="432" y="1295"/>
                        <a:pt x="425" y="1288"/>
                        <a:pt x="419" y="1280"/>
                      </a:cubicBezTo>
                      <a:cubicBezTo>
                        <a:pt x="413" y="1274"/>
                        <a:pt x="393" y="1243"/>
                        <a:pt x="391" y="1230"/>
                      </a:cubicBezTo>
                      <a:cubicBezTo>
                        <a:pt x="390" y="1228"/>
                        <a:pt x="390" y="1228"/>
                        <a:pt x="390" y="1228"/>
                      </a:cubicBezTo>
                      <a:cubicBezTo>
                        <a:pt x="391" y="1226"/>
                        <a:pt x="391" y="1226"/>
                        <a:pt x="391" y="1226"/>
                      </a:cubicBezTo>
                      <a:cubicBezTo>
                        <a:pt x="391" y="1225"/>
                        <a:pt x="391" y="1223"/>
                        <a:pt x="390" y="1220"/>
                      </a:cubicBezTo>
                      <a:cubicBezTo>
                        <a:pt x="389" y="1218"/>
                        <a:pt x="389" y="1218"/>
                        <a:pt x="389" y="1218"/>
                      </a:cubicBezTo>
                      <a:cubicBezTo>
                        <a:pt x="385" y="1216"/>
                        <a:pt x="385" y="1216"/>
                        <a:pt x="385" y="1216"/>
                      </a:cubicBezTo>
                      <a:cubicBezTo>
                        <a:pt x="382" y="1199"/>
                        <a:pt x="382" y="1199"/>
                        <a:pt x="382" y="1199"/>
                      </a:cubicBezTo>
                      <a:cubicBezTo>
                        <a:pt x="379" y="1189"/>
                        <a:pt x="379" y="1189"/>
                        <a:pt x="379" y="1189"/>
                      </a:cubicBezTo>
                      <a:cubicBezTo>
                        <a:pt x="377" y="1184"/>
                        <a:pt x="377" y="1184"/>
                        <a:pt x="377" y="1184"/>
                      </a:cubicBezTo>
                      <a:cubicBezTo>
                        <a:pt x="379" y="1183"/>
                        <a:pt x="379" y="1183"/>
                        <a:pt x="379" y="1183"/>
                      </a:cubicBezTo>
                      <a:cubicBezTo>
                        <a:pt x="379" y="1181"/>
                        <a:pt x="379" y="1180"/>
                        <a:pt x="380" y="1178"/>
                      </a:cubicBezTo>
                      <a:cubicBezTo>
                        <a:pt x="378" y="1178"/>
                        <a:pt x="376" y="1177"/>
                        <a:pt x="375" y="1177"/>
                      </a:cubicBezTo>
                      <a:cubicBezTo>
                        <a:pt x="373" y="1176"/>
                        <a:pt x="373" y="1176"/>
                        <a:pt x="373" y="1176"/>
                      </a:cubicBezTo>
                      <a:cubicBezTo>
                        <a:pt x="373" y="1175"/>
                        <a:pt x="373" y="1175"/>
                        <a:pt x="373" y="1175"/>
                      </a:cubicBezTo>
                      <a:cubicBezTo>
                        <a:pt x="372" y="1174"/>
                        <a:pt x="372" y="1174"/>
                        <a:pt x="371" y="1173"/>
                      </a:cubicBezTo>
                      <a:cubicBezTo>
                        <a:pt x="370" y="1170"/>
                        <a:pt x="370" y="1170"/>
                        <a:pt x="370" y="1170"/>
                      </a:cubicBezTo>
                      <a:cubicBezTo>
                        <a:pt x="369" y="1163"/>
                        <a:pt x="369" y="1163"/>
                        <a:pt x="369" y="1163"/>
                      </a:cubicBezTo>
                      <a:cubicBezTo>
                        <a:pt x="373" y="1163"/>
                        <a:pt x="373" y="1163"/>
                        <a:pt x="373" y="1163"/>
                      </a:cubicBezTo>
                      <a:cubicBezTo>
                        <a:pt x="373" y="1162"/>
                        <a:pt x="372" y="1160"/>
                        <a:pt x="371" y="1158"/>
                      </a:cubicBezTo>
                      <a:cubicBezTo>
                        <a:pt x="371" y="1158"/>
                        <a:pt x="371" y="1158"/>
                        <a:pt x="371" y="1158"/>
                      </a:cubicBezTo>
                      <a:cubicBezTo>
                        <a:pt x="371" y="1157"/>
                        <a:pt x="371" y="1157"/>
                        <a:pt x="371" y="1157"/>
                      </a:cubicBezTo>
                      <a:cubicBezTo>
                        <a:pt x="370" y="1155"/>
                        <a:pt x="369" y="1152"/>
                        <a:pt x="369" y="1152"/>
                      </a:cubicBezTo>
                      <a:cubicBezTo>
                        <a:pt x="365" y="1144"/>
                        <a:pt x="365" y="1144"/>
                        <a:pt x="365" y="1144"/>
                      </a:cubicBezTo>
                      <a:cubicBezTo>
                        <a:pt x="365" y="1142"/>
                        <a:pt x="365" y="1142"/>
                        <a:pt x="365" y="1142"/>
                      </a:cubicBezTo>
                      <a:cubicBezTo>
                        <a:pt x="366" y="1141"/>
                        <a:pt x="366" y="1141"/>
                        <a:pt x="366" y="1141"/>
                      </a:cubicBezTo>
                      <a:cubicBezTo>
                        <a:pt x="372" y="1136"/>
                        <a:pt x="372" y="1136"/>
                        <a:pt x="372" y="1136"/>
                      </a:cubicBezTo>
                      <a:cubicBezTo>
                        <a:pt x="374" y="1134"/>
                        <a:pt x="374" y="1134"/>
                        <a:pt x="374" y="1134"/>
                      </a:cubicBezTo>
                      <a:cubicBezTo>
                        <a:pt x="379" y="1129"/>
                        <a:pt x="381" y="1123"/>
                        <a:pt x="382" y="1117"/>
                      </a:cubicBezTo>
                      <a:cubicBezTo>
                        <a:pt x="385" y="1107"/>
                        <a:pt x="385" y="1107"/>
                        <a:pt x="385" y="1107"/>
                      </a:cubicBezTo>
                      <a:cubicBezTo>
                        <a:pt x="388" y="1088"/>
                        <a:pt x="388" y="1088"/>
                        <a:pt x="388" y="1088"/>
                      </a:cubicBezTo>
                      <a:cubicBezTo>
                        <a:pt x="391" y="1080"/>
                        <a:pt x="391" y="1080"/>
                        <a:pt x="391" y="1080"/>
                      </a:cubicBezTo>
                      <a:cubicBezTo>
                        <a:pt x="389" y="1073"/>
                        <a:pt x="389" y="1073"/>
                        <a:pt x="389" y="1073"/>
                      </a:cubicBezTo>
                      <a:cubicBezTo>
                        <a:pt x="388" y="1070"/>
                        <a:pt x="386" y="1067"/>
                        <a:pt x="385" y="1065"/>
                      </a:cubicBezTo>
                      <a:cubicBezTo>
                        <a:pt x="384" y="1065"/>
                        <a:pt x="384" y="1065"/>
                        <a:pt x="384" y="1065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3"/>
                        <a:pt x="384" y="1063"/>
                        <a:pt x="384" y="1063"/>
                      </a:cubicBezTo>
                      <a:cubicBezTo>
                        <a:pt x="384" y="1062"/>
                        <a:pt x="384" y="1062"/>
                        <a:pt x="384" y="1062"/>
                      </a:cubicBezTo>
                      <a:cubicBezTo>
                        <a:pt x="385" y="1061"/>
                        <a:pt x="385" y="1061"/>
                        <a:pt x="385" y="1061"/>
                      </a:cubicBezTo>
                      <a:cubicBezTo>
                        <a:pt x="388" y="1055"/>
                        <a:pt x="401" y="1040"/>
                        <a:pt x="409" y="1031"/>
                      </a:cubicBezTo>
                      <a:cubicBezTo>
                        <a:pt x="409" y="1030"/>
                        <a:pt x="409" y="1030"/>
                        <a:pt x="409" y="1030"/>
                      </a:cubicBezTo>
                      <a:cubicBezTo>
                        <a:pt x="416" y="1024"/>
                        <a:pt x="416" y="1024"/>
                        <a:pt x="416" y="1024"/>
                      </a:cubicBezTo>
                      <a:cubicBezTo>
                        <a:pt x="417" y="1024"/>
                        <a:pt x="418" y="1023"/>
                        <a:pt x="418" y="1022"/>
                      </a:cubicBezTo>
                      <a:cubicBezTo>
                        <a:pt x="424" y="1016"/>
                        <a:pt x="424" y="1016"/>
                        <a:pt x="424" y="1016"/>
                      </a:cubicBezTo>
                      <a:cubicBezTo>
                        <a:pt x="426" y="1015"/>
                        <a:pt x="426" y="1015"/>
                        <a:pt x="426" y="1015"/>
                      </a:cubicBezTo>
                      <a:cubicBezTo>
                        <a:pt x="438" y="1006"/>
                        <a:pt x="452" y="994"/>
                        <a:pt x="462" y="990"/>
                      </a:cubicBezTo>
                      <a:cubicBezTo>
                        <a:pt x="470" y="987"/>
                        <a:pt x="480" y="986"/>
                        <a:pt x="489" y="984"/>
                      </a:cubicBezTo>
                      <a:cubicBezTo>
                        <a:pt x="492" y="982"/>
                        <a:pt x="492" y="982"/>
                        <a:pt x="492" y="982"/>
                      </a:cubicBezTo>
                      <a:cubicBezTo>
                        <a:pt x="497" y="982"/>
                        <a:pt x="497" y="982"/>
                        <a:pt x="497" y="982"/>
                      </a:cubicBezTo>
                      <a:cubicBezTo>
                        <a:pt x="503" y="977"/>
                        <a:pt x="503" y="977"/>
                        <a:pt x="503" y="977"/>
                      </a:cubicBezTo>
                      <a:cubicBezTo>
                        <a:pt x="514" y="968"/>
                        <a:pt x="514" y="968"/>
                        <a:pt x="514" y="968"/>
                      </a:cubicBezTo>
                      <a:cubicBezTo>
                        <a:pt x="512" y="961"/>
                        <a:pt x="512" y="961"/>
                        <a:pt x="512" y="961"/>
                      </a:cubicBezTo>
                      <a:cubicBezTo>
                        <a:pt x="513" y="956"/>
                        <a:pt x="513" y="956"/>
                        <a:pt x="513" y="956"/>
                      </a:cubicBezTo>
                      <a:cubicBezTo>
                        <a:pt x="514" y="953"/>
                        <a:pt x="514" y="953"/>
                        <a:pt x="514" y="953"/>
                      </a:cubicBezTo>
                      <a:cubicBezTo>
                        <a:pt x="514" y="949"/>
                        <a:pt x="515" y="945"/>
                        <a:pt x="516" y="943"/>
                      </a:cubicBezTo>
                      <a:cubicBezTo>
                        <a:pt x="517" y="940"/>
                        <a:pt x="518" y="939"/>
                        <a:pt x="519" y="937"/>
                      </a:cubicBezTo>
                      <a:cubicBezTo>
                        <a:pt x="521" y="931"/>
                        <a:pt x="521" y="931"/>
                        <a:pt x="521" y="931"/>
                      </a:cubicBezTo>
                      <a:cubicBezTo>
                        <a:pt x="528" y="930"/>
                        <a:pt x="528" y="930"/>
                        <a:pt x="528" y="930"/>
                      </a:cubicBezTo>
                      <a:cubicBezTo>
                        <a:pt x="530" y="930"/>
                        <a:pt x="533" y="929"/>
                        <a:pt x="536" y="928"/>
                      </a:cubicBezTo>
                      <a:cubicBezTo>
                        <a:pt x="537" y="928"/>
                        <a:pt x="537" y="928"/>
                        <a:pt x="537" y="928"/>
                      </a:cubicBezTo>
                      <a:cubicBezTo>
                        <a:pt x="538" y="927"/>
                        <a:pt x="539" y="927"/>
                        <a:pt x="540" y="926"/>
                      </a:cubicBezTo>
                      <a:cubicBezTo>
                        <a:pt x="549" y="920"/>
                        <a:pt x="549" y="920"/>
                        <a:pt x="549" y="920"/>
                      </a:cubicBezTo>
                      <a:cubicBezTo>
                        <a:pt x="552" y="920"/>
                        <a:pt x="552" y="920"/>
                        <a:pt x="552" y="920"/>
                      </a:cubicBezTo>
                      <a:cubicBezTo>
                        <a:pt x="557" y="916"/>
                        <a:pt x="563" y="911"/>
                        <a:pt x="569" y="908"/>
                      </a:cubicBezTo>
                      <a:cubicBezTo>
                        <a:pt x="569" y="908"/>
                        <a:pt x="569" y="908"/>
                        <a:pt x="569" y="908"/>
                      </a:cubicBezTo>
                      <a:cubicBezTo>
                        <a:pt x="569" y="908"/>
                        <a:pt x="569" y="908"/>
                        <a:pt x="569" y="908"/>
                      </a:cubicBezTo>
                      <a:cubicBezTo>
                        <a:pt x="572" y="906"/>
                        <a:pt x="576" y="905"/>
                        <a:pt x="579" y="904"/>
                      </a:cubicBezTo>
                      <a:cubicBezTo>
                        <a:pt x="585" y="913"/>
                        <a:pt x="585" y="913"/>
                        <a:pt x="585" y="913"/>
                      </a:cubicBezTo>
                      <a:cubicBezTo>
                        <a:pt x="588" y="918"/>
                        <a:pt x="588" y="918"/>
                        <a:pt x="588" y="918"/>
                      </a:cubicBezTo>
                      <a:cubicBezTo>
                        <a:pt x="600" y="919"/>
                        <a:pt x="600" y="919"/>
                        <a:pt x="600" y="919"/>
                      </a:cubicBezTo>
                      <a:cubicBezTo>
                        <a:pt x="604" y="918"/>
                        <a:pt x="608" y="917"/>
                        <a:pt x="611" y="917"/>
                      </a:cubicBezTo>
                      <a:cubicBezTo>
                        <a:pt x="612" y="916"/>
                        <a:pt x="612" y="916"/>
                        <a:pt x="612" y="916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4" y="917"/>
                        <a:pt x="614" y="917"/>
                        <a:pt x="614" y="917"/>
                      </a:cubicBezTo>
                      <a:cubicBezTo>
                        <a:pt x="616" y="918"/>
                        <a:pt x="616" y="918"/>
                        <a:pt x="616" y="918"/>
                      </a:cubicBezTo>
                      <a:cubicBezTo>
                        <a:pt x="616" y="918"/>
                        <a:pt x="616" y="918"/>
                        <a:pt x="616" y="918"/>
                      </a:cubicBezTo>
                      <a:cubicBezTo>
                        <a:pt x="619" y="921"/>
                        <a:pt x="617" y="926"/>
                        <a:pt x="627" y="924"/>
                      </a:cubicBezTo>
                      <a:cubicBezTo>
                        <a:pt x="627" y="924"/>
                        <a:pt x="627" y="924"/>
                        <a:pt x="627" y="924"/>
                      </a:cubicBezTo>
                      <a:cubicBezTo>
                        <a:pt x="632" y="923"/>
                        <a:pt x="632" y="923"/>
                        <a:pt x="632" y="923"/>
                      </a:cubicBezTo>
                      <a:cubicBezTo>
                        <a:pt x="634" y="924"/>
                        <a:pt x="634" y="924"/>
                        <a:pt x="634" y="924"/>
                      </a:cubicBezTo>
                      <a:cubicBezTo>
                        <a:pt x="638" y="925"/>
                        <a:pt x="641" y="926"/>
                        <a:pt x="644" y="927"/>
                      </a:cubicBezTo>
                      <a:cubicBezTo>
                        <a:pt x="650" y="928"/>
                        <a:pt x="650" y="928"/>
                        <a:pt x="650" y="928"/>
                      </a:cubicBezTo>
                      <a:cubicBezTo>
                        <a:pt x="665" y="926"/>
                        <a:pt x="665" y="926"/>
                        <a:pt x="665" y="926"/>
                      </a:cubicBezTo>
                      <a:cubicBezTo>
                        <a:pt x="678" y="924"/>
                        <a:pt x="678" y="924"/>
                        <a:pt x="678" y="924"/>
                      </a:cubicBezTo>
                      <a:cubicBezTo>
                        <a:pt x="679" y="924"/>
                        <a:pt x="679" y="924"/>
                        <a:pt x="679" y="924"/>
                      </a:cubicBezTo>
                      <a:cubicBezTo>
                        <a:pt x="685" y="924"/>
                        <a:pt x="694" y="924"/>
                        <a:pt x="700" y="925"/>
                      </a:cubicBezTo>
                      <a:cubicBezTo>
                        <a:pt x="700" y="925"/>
                        <a:pt x="700" y="925"/>
                        <a:pt x="700" y="925"/>
                      </a:cubicBezTo>
                      <a:cubicBezTo>
                        <a:pt x="703" y="926"/>
                        <a:pt x="703" y="926"/>
                        <a:pt x="703" y="926"/>
                      </a:cubicBezTo>
                      <a:cubicBezTo>
                        <a:pt x="703" y="926"/>
                        <a:pt x="703" y="926"/>
                        <a:pt x="703" y="926"/>
                      </a:cubicBezTo>
                      <a:cubicBezTo>
                        <a:pt x="709" y="927"/>
                        <a:pt x="714" y="925"/>
                        <a:pt x="719" y="925"/>
                      </a:cubicBezTo>
                      <a:cubicBezTo>
                        <a:pt x="722" y="924"/>
                        <a:pt x="722" y="924"/>
                        <a:pt x="722" y="924"/>
                      </a:cubicBezTo>
                      <a:cubicBezTo>
                        <a:pt x="726" y="926"/>
                        <a:pt x="726" y="926"/>
                        <a:pt x="726" y="926"/>
                      </a:cubicBezTo>
                      <a:cubicBezTo>
                        <a:pt x="726" y="926"/>
                        <a:pt x="726" y="926"/>
                        <a:pt x="726" y="926"/>
                      </a:cubicBezTo>
                      <a:cubicBezTo>
                        <a:pt x="738" y="932"/>
                        <a:pt x="755" y="923"/>
                        <a:pt x="766" y="927"/>
                      </a:cubicBezTo>
                      <a:cubicBezTo>
                        <a:pt x="767" y="928"/>
                        <a:pt x="769" y="929"/>
                        <a:pt x="770" y="930"/>
                      </a:cubicBezTo>
                      <a:cubicBezTo>
                        <a:pt x="774" y="930"/>
                        <a:pt x="774" y="930"/>
                        <a:pt x="774" y="930"/>
                      </a:cubicBezTo>
                      <a:cubicBezTo>
                        <a:pt x="775" y="934"/>
                        <a:pt x="775" y="934"/>
                        <a:pt x="775" y="934"/>
                      </a:cubicBezTo>
                      <a:cubicBezTo>
                        <a:pt x="773" y="935"/>
                        <a:pt x="773" y="935"/>
                        <a:pt x="773" y="935"/>
                      </a:cubicBezTo>
                      <a:cubicBezTo>
                        <a:pt x="775" y="938"/>
                        <a:pt x="776" y="942"/>
                        <a:pt x="776" y="945"/>
                      </a:cubicBezTo>
                      <a:cubicBezTo>
                        <a:pt x="776" y="945"/>
                        <a:pt x="776" y="945"/>
                        <a:pt x="776" y="945"/>
                      </a:cubicBezTo>
                      <a:cubicBezTo>
                        <a:pt x="775" y="947"/>
                        <a:pt x="775" y="947"/>
                        <a:pt x="775" y="947"/>
                      </a:cubicBezTo>
                      <a:cubicBezTo>
                        <a:pt x="775" y="947"/>
                        <a:pt x="775" y="948"/>
                        <a:pt x="775" y="948"/>
                      </a:cubicBezTo>
                      <a:cubicBezTo>
                        <a:pt x="775" y="948"/>
                        <a:pt x="775" y="948"/>
                        <a:pt x="775" y="948"/>
                      </a:cubicBezTo>
                      <a:cubicBezTo>
                        <a:pt x="774" y="950"/>
                        <a:pt x="774" y="950"/>
                        <a:pt x="774" y="950"/>
                      </a:cubicBezTo>
                      <a:cubicBezTo>
                        <a:pt x="774" y="957"/>
                        <a:pt x="774" y="957"/>
                        <a:pt x="774" y="957"/>
                      </a:cubicBezTo>
                      <a:cubicBezTo>
                        <a:pt x="769" y="959"/>
                        <a:pt x="769" y="959"/>
                        <a:pt x="769" y="959"/>
                      </a:cubicBezTo>
                      <a:cubicBezTo>
                        <a:pt x="768" y="961"/>
                        <a:pt x="767" y="963"/>
                        <a:pt x="767" y="963"/>
                      </a:cubicBezTo>
                      <a:cubicBezTo>
                        <a:pt x="767" y="965"/>
                        <a:pt x="768" y="966"/>
                        <a:pt x="770" y="967"/>
                      </a:cubicBezTo>
                      <a:cubicBezTo>
                        <a:pt x="772" y="967"/>
                        <a:pt x="772" y="967"/>
                        <a:pt x="772" y="967"/>
                      </a:cubicBezTo>
                      <a:cubicBezTo>
                        <a:pt x="777" y="971"/>
                        <a:pt x="777" y="971"/>
                        <a:pt x="777" y="971"/>
                      </a:cubicBezTo>
                      <a:cubicBezTo>
                        <a:pt x="779" y="974"/>
                        <a:pt x="779" y="974"/>
                        <a:pt x="779" y="974"/>
                      </a:cubicBezTo>
                      <a:cubicBezTo>
                        <a:pt x="779" y="974"/>
                        <a:pt x="779" y="974"/>
                        <a:pt x="779" y="974"/>
                      </a:cubicBezTo>
                      <a:cubicBezTo>
                        <a:pt x="780" y="976"/>
                        <a:pt x="781" y="977"/>
                        <a:pt x="782" y="978"/>
                      </a:cubicBezTo>
                      <a:cubicBezTo>
                        <a:pt x="791" y="983"/>
                        <a:pt x="791" y="983"/>
                        <a:pt x="791" y="983"/>
                      </a:cubicBezTo>
                      <a:cubicBezTo>
                        <a:pt x="797" y="982"/>
                        <a:pt x="797" y="982"/>
                        <a:pt x="797" y="982"/>
                      </a:cubicBezTo>
                      <a:cubicBezTo>
                        <a:pt x="803" y="986"/>
                        <a:pt x="803" y="986"/>
                        <a:pt x="803" y="986"/>
                      </a:cubicBezTo>
                      <a:cubicBezTo>
                        <a:pt x="806" y="988"/>
                        <a:pt x="806" y="988"/>
                        <a:pt x="806" y="988"/>
                      </a:cubicBezTo>
                      <a:cubicBezTo>
                        <a:pt x="812" y="990"/>
                        <a:pt x="818" y="993"/>
                        <a:pt x="822" y="997"/>
                      </a:cubicBezTo>
                      <a:cubicBezTo>
                        <a:pt x="824" y="999"/>
                        <a:pt x="824" y="1002"/>
                        <a:pt x="825" y="1005"/>
                      </a:cubicBezTo>
                      <a:cubicBezTo>
                        <a:pt x="825" y="1006"/>
                        <a:pt x="825" y="1006"/>
                        <a:pt x="825" y="1006"/>
                      </a:cubicBezTo>
                      <a:cubicBezTo>
                        <a:pt x="826" y="1009"/>
                        <a:pt x="826" y="1009"/>
                        <a:pt x="826" y="1009"/>
                      </a:cubicBezTo>
                      <a:cubicBezTo>
                        <a:pt x="827" y="1010"/>
                        <a:pt x="827" y="1012"/>
                        <a:pt x="829" y="1012"/>
                      </a:cubicBezTo>
                      <a:cubicBezTo>
                        <a:pt x="829" y="1012"/>
                        <a:pt x="829" y="1012"/>
                        <a:pt x="829" y="1012"/>
                      </a:cubicBezTo>
                      <a:cubicBezTo>
                        <a:pt x="836" y="1017"/>
                        <a:pt x="841" y="1016"/>
                        <a:pt x="849" y="1020"/>
                      </a:cubicBezTo>
                      <a:cubicBezTo>
                        <a:pt x="859" y="1023"/>
                        <a:pt x="868" y="1029"/>
                        <a:pt x="879" y="1033"/>
                      </a:cubicBezTo>
                      <a:cubicBezTo>
                        <a:pt x="879" y="1033"/>
                        <a:pt x="879" y="1033"/>
                        <a:pt x="879" y="1033"/>
                      </a:cubicBezTo>
                      <a:cubicBezTo>
                        <a:pt x="880" y="1033"/>
                        <a:pt x="881" y="1033"/>
                        <a:pt x="881" y="1033"/>
                      </a:cubicBezTo>
                      <a:cubicBezTo>
                        <a:pt x="885" y="1029"/>
                        <a:pt x="885" y="1029"/>
                        <a:pt x="885" y="1029"/>
                      </a:cubicBezTo>
                      <a:cubicBezTo>
                        <a:pt x="886" y="1027"/>
                        <a:pt x="887" y="1024"/>
                        <a:pt x="888" y="1024"/>
                      </a:cubicBezTo>
                      <a:cubicBezTo>
                        <a:pt x="888" y="1020"/>
                        <a:pt x="888" y="1020"/>
                        <a:pt x="888" y="1020"/>
                      </a:cubicBezTo>
                      <a:cubicBezTo>
                        <a:pt x="891" y="1018"/>
                        <a:pt x="891" y="1018"/>
                        <a:pt x="891" y="1018"/>
                      </a:cubicBezTo>
                      <a:cubicBezTo>
                        <a:pt x="903" y="1010"/>
                        <a:pt x="903" y="1010"/>
                        <a:pt x="903" y="1010"/>
                      </a:cubicBezTo>
                      <a:cubicBezTo>
                        <a:pt x="909" y="1012"/>
                        <a:pt x="909" y="1012"/>
                        <a:pt x="909" y="1012"/>
                      </a:cubicBezTo>
                      <a:cubicBezTo>
                        <a:pt x="911" y="1012"/>
                        <a:pt x="914" y="1012"/>
                        <a:pt x="918" y="1013"/>
                      </a:cubicBezTo>
                      <a:cubicBezTo>
                        <a:pt x="924" y="1014"/>
                        <a:pt x="930" y="1017"/>
                        <a:pt x="936" y="1019"/>
                      </a:cubicBezTo>
                      <a:cubicBezTo>
                        <a:pt x="937" y="1019"/>
                        <a:pt x="937" y="1019"/>
                        <a:pt x="937" y="1019"/>
                      </a:cubicBezTo>
                      <a:cubicBezTo>
                        <a:pt x="941" y="1019"/>
                        <a:pt x="941" y="1019"/>
                        <a:pt x="941" y="1019"/>
                      </a:cubicBezTo>
                      <a:cubicBezTo>
                        <a:pt x="950" y="1023"/>
                        <a:pt x="950" y="1023"/>
                        <a:pt x="950" y="1023"/>
                      </a:cubicBezTo>
                      <a:cubicBezTo>
                        <a:pt x="963" y="1023"/>
                        <a:pt x="963" y="1023"/>
                        <a:pt x="963" y="1023"/>
                      </a:cubicBezTo>
                      <a:cubicBezTo>
                        <a:pt x="965" y="1023"/>
                        <a:pt x="965" y="1023"/>
                        <a:pt x="965" y="1023"/>
                      </a:cubicBezTo>
                      <a:cubicBezTo>
                        <a:pt x="969" y="1023"/>
                        <a:pt x="973" y="1023"/>
                        <a:pt x="977" y="1022"/>
                      </a:cubicBezTo>
                      <a:cubicBezTo>
                        <a:pt x="979" y="1022"/>
                        <a:pt x="979" y="1022"/>
                        <a:pt x="979" y="1022"/>
                      </a:cubicBezTo>
                      <a:cubicBezTo>
                        <a:pt x="991" y="1021"/>
                        <a:pt x="991" y="1021"/>
                        <a:pt x="991" y="1021"/>
                      </a:cubicBezTo>
                      <a:cubicBezTo>
                        <a:pt x="992" y="1021"/>
                        <a:pt x="992" y="1021"/>
                        <a:pt x="992" y="1021"/>
                      </a:cubicBezTo>
                      <a:cubicBezTo>
                        <a:pt x="996" y="1021"/>
                        <a:pt x="996" y="1021"/>
                        <a:pt x="996" y="1021"/>
                      </a:cubicBezTo>
                      <a:cubicBezTo>
                        <a:pt x="998" y="1021"/>
                        <a:pt x="998" y="1021"/>
                        <a:pt x="998" y="1021"/>
                      </a:cubicBezTo>
                      <a:cubicBezTo>
                        <a:pt x="1006" y="1021"/>
                        <a:pt x="1012" y="1017"/>
                        <a:pt x="1019" y="1014"/>
                      </a:cubicBezTo>
                      <a:cubicBezTo>
                        <a:pt x="1020" y="1014"/>
                        <a:pt x="1020" y="1014"/>
                        <a:pt x="1020" y="1014"/>
                      </a:cubicBezTo>
                      <a:cubicBezTo>
                        <a:pt x="1031" y="1013"/>
                        <a:pt x="1031" y="1013"/>
                        <a:pt x="1031" y="1013"/>
                      </a:cubicBezTo>
                      <a:cubicBezTo>
                        <a:pt x="1040" y="1014"/>
                        <a:pt x="1040" y="1014"/>
                        <a:pt x="1040" y="1014"/>
                      </a:cubicBezTo>
                      <a:cubicBezTo>
                        <a:pt x="1041" y="1013"/>
                        <a:pt x="1042" y="1013"/>
                        <a:pt x="1043" y="1013"/>
                      </a:cubicBezTo>
                      <a:cubicBezTo>
                        <a:pt x="1043" y="1013"/>
                        <a:pt x="1043" y="1013"/>
                        <a:pt x="1043" y="1013"/>
                      </a:cubicBezTo>
                      <a:cubicBezTo>
                        <a:pt x="1045" y="1011"/>
                        <a:pt x="1045" y="1011"/>
                        <a:pt x="1045" y="1011"/>
                      </a:cubicBezTo>
                      <a:cubicBezTo>
                        <a:pt x="1046" y="1011"/>
                        <a:pt x="1046" y="1011"/>
                        <a:pt x="1046" y="1011"/>
                      </a:cubicBezTo>
                      <a:cubicBezTo>
                        <a:pt x="1048" y="1010"/>
                        <a:pt x="1051" y="1009"/>
                        <a:pt x="1054" y="1008"/>
                      </a:cubicBezTo>
                      <a:cubicBezTo>
                        <a:pt x="1057" y="1005"/>
                        <a:pt x="1057" y="1005"/>
                        <a:pt x="1057" y="1005"/>
                      </a:cubicBezTo>
                      <a:cubicBezTo>
                        <a:pt x="1062" y="1004"/>
                        <a:pt x="1062" y="1004"/>
                        <a:pt x="1062" y="1004"/>
                      </a:cubicBezTo>
                      <a:cubicBezTo>
                        <a:pt x="1064" y="1003"/>
                        <a:pt x="1066" y="1001"/>
                        <a:pt x="1068" y="1000"/>
                      </a:cubicBezTo>
                      <a:cubicBezTo>
                        <a:pt x="1069" y="998"/>
                        <a:pt x="1069" y="998"/>
                        <a:pt x="1069" y="998"/>
                      </a:cubicBezTo>
                      <a:cubicBezTo>
                        <a:pt x="1072" y="995"/>
                        <a:pt x="1072" y="995"/>
                        <a:pt x="1072" y="995"/>
                      </a:cubicBezTo>
                      <a:cubicBezTo>
                        <a:pt x="1073" y="993"/>
                        <a:pt x="1073" y="992"/>
                        <a:pt x="1074" y="990"/>
                      </a:cubicBezTo>
                      <a:cubicBezTo>
                        <a:pt x="1076" y="981"/>
                        <a:pt x="1076" y="981"/>
                        <a:pt x="1076" y="981"/>
                      </a:cubicBezTo>
                      <a:cubicBezTo>
                        <a:pt x="1078" y="978"/>
                        <a:pt x="1078" y="978"/>
                        <a:pt x="1078" y="978"/>
                      </a:cubicBezTo>
                      <a:cubicBezTo>
                        <a:pt x="1079" y="975"/>
                        <a:pt x="1080" y="971"/>
                        <a:pt x="1082" y="967"/>
                      </a:cubicBezTo>
                      <a:cubicBezTo>
                        <a:pt x="1081" y="959"/>
                        <a:pt x="1081" y="959"/>
                        <a:pt x="1081" y="959"/>
                      </a:cubicBezTo>
                      <a:cubicBezTo>
                        <a:pt x="1081" y="956"/>
                        <a:pt x="1081" y="956"/>
                        <a:pt x="1081" y="956"/>
                      </a:cubicBezTo>
                      <a:cubicBezTo>
                        <a:pt x="1085" y="950"/>
                        <a:pt x="1085" y="950"/>
                        <a:pt x="1085" y="950"/>
                      </a:cubicBezTo>
                      <a:cubicBezTo>
                        <a:pt x="1085" y="947"/>
                        <a:pt x="1084" y="944"/>
                        <a:pt x="1084" y="940"/>
                      </a:cubicBezTo>
                      <a:cubicBezTo>
                        <a:pt x="1081" y="937"/>
                        <a:pt x="1081" y="937"/>
                        <a:pt x="1081" y="937"/>
                      </a:cubicBezTo>
                      <a:cubicBezTo>
                        <a:pt x="1080" y="933"/>
                        <a:pt x="1080" y="933"/>
                        <a:pt x="1080" y="933"/>
                      </a:cubicBezTo>
                      <a:cubicBezTo>
                        <a:pt x="1081" y="917"/>
                        <a:pt x="1081" y="917"/>
                        <a:pt x="1081" y="917"/>
                      </a:cubicBezTo>
                      <a:cubicBezTo>
                        <a:pt x="1081" y="913"/>
                        <a:pt x="1081" y="913"/>
                        <a:pt x="1081" y="913"/>
                      </a:cubicBezTo>
                      <a:cubicBezTo>
                        <a:pt x="1078" y="914"/>
                        <a:pt x="1076" y="915"/>
                        <a:pt x="1073" y="917"/>
                      </a:cubicBezTo>
                      <a:cubicBezTo>
                        <a:pt x="1073" y="918"/>
                        <a:pt x="1073" y="918"/>
                        <a:pt x="1073" y="918"/>
                      </a:cubicBezTo>
                      <a:cubicBezTo>
                        <a:pt x="1072" y="917"/>
                        <a:pt x="1072" y="917"/>
                        <a:pt x="1072" y="917"/>
                      </a:cubicBezTo>
                      <a:cubicBezTo>
                        <a:pt x="1065" y="921"/>
                        <a:pt x="1059" y="927"/>
                        <a:pt x="1051" y="929"/>
                      </a:cubicBezTo>
                      <a:cubicBezTo>
                        <a:pt x="1045" y="933"/>
                        <a:pt x="1045" y="933"/>
                        <a:pt x="1045" y="933"/>
                      </a:cubicBezTo>
                      <a:cubicBezTo>
                        <a:pt x="1037" y="927"/>
                        <a:pt x="1037" y="927"/>
                        <a:pt x="1037" y="927"/>
                      </a:cubicBezTo>
                      <a:cubicBezTo>
                        <a:pt x="1036" y="927"/>
                        <a:pt x="1034" y="926"/>
                        <a:pt x="1033" y="925"/>
                      </a:cubicBezTo>
                      <a:cubicBezTo>
                        <a:pt x="1032" y="924"/>
                        <a:pt x="1030" y="924"/>
                        <a:pt x="1029" y="923"/>
                      </a:cubicBezTo>
                      <a:cubicBezTo>
                        <a:pt x="1020" y="921"/>
                        <a:pt x="1020" y="921"/>
                        <a:pt x="1020" y="921"/>
                      </a:cubicBezTo>
                      <a:cubicBezTo>
                        <a:pt x="1018" y="922"/>
                        <a:pt x="1017" y="922"/>
                        <a:pt x="1017" y="924"/>
                      </a:cubicBezTo>
                      <a:cubicBezTo>
                        <a:pt x="1017" y="924"/>
                        <a:pt x="1017" y="924"/>
                        <a:pt x="1017" y="924"/>
                      </a:cubicBezTo>
                      <a:cubicBezTo>
                        <a:pt x="1016" y="926"/>
                        <a:pt x="1016" y="926"/>
                        <a:pt x="1016" y="926"/>
                      </a:cubicBezTo>
                      <a:cubicBezTo>
                        <a:pt x="1012" y="931"/>
                        <a:pt x="1012" y="931"/>
                        <a:pt x="1012" y="931"/>
                      </a:cubicBezTo>
                      <a:cubicBezTo>
                        <a:pt x="1006" y="932"/>
                        <a:pt x="1006" y="932"/>
                        <a:pt x="1006" y="932"/>
                      </a:cubicBezTo>
                      <a:cubicBezTo>
                        <a:pt x="999" y="931"/>
                        <a:pt x="999" y="931"/>
                        <a:pt x="999" y="931"/>
                      </a:cubicBezTo>
                      <a:cubicBezTo>
                        <a:pt x="996" y="928"/>
                        <a:pt x="996" y="928"/>
                        <a:pt x="996" y="928"/>
                      </a:cubicBezTo>
                      <a:cubicBezTo>
                        <a:pt x="993" y="927"/>
                        <a:pt x="989" y="925"/>
                        <a:pt x="986" y="923"/>
                      </a:cubicBezTo>
                      <a:cubicBezTo>
                        <a:pt x="982" y="927"/>
                        <a:pt x="982" y="927"/>
                        <a:pt x="982" y="927"/>
                      </a:cubicBezTo>
                      <a:cubicBezTo>
                        <a:pt x="976" y="927"/>
                        <a:pt x="976" y="927"/>
                        <a:pt x="976" y="927"/>
                      </a:cubicBezTo>
                      <a:cubicBezTo>
                        <a:pt x="976" y="923"/>
                        <a:pt x="976" y="923"/>
                        <a:pt x="976" y="923"/>
                      </a:cubicBezTo>
                      <a:cubicBezTo>
                        <a:pt x="975" y="922"/>
                        <a:pt x="975" y="921"/>
                        <a:pt x="976" y="918"/>
                      </a:cubicBezTo>
                      <a:cubicBezTo>
                        <a:pt x="975" y="917"/>
                        <a:pt x="975" y="917"/>
                        <a:pt x="975" y="917"/>
                      </a:cubicBezTo>
                      <a:cubicBezTo>
                        <a:pt x="977" y="912"/>
                        <a:pt x="977" y="912"/>
                        <a:pt x="977" y="912"/>
                      </a:cubicBezTo>
                      <a:cubicBezTo>
                        <a:pt x="974" y="912"/>
                        <a:pt x="974" y="912"/>
                        <a:pt x="974" y="912"/>
                      </a:cubicBezTo>
                      <a:cubicBezTo>
                        <a:pt x="970" y="912"/>
                        <a:pt x="970" y="912"/>
                        <a:pt x="970" y="912"/>
                      </a:cubicBezTo>
                      <a:cubicBezTo>
                        <a:pt x="968" y="906"/>
                        <a:pt x="968" y="906"/>
                        <a:pt x="968" y="906"/>
                      </a:cubicBezTo>
                      <a:cubicBezTo>
                        <a:pt x="970" y="906"/>
                        <a:pt x="970" y="906"/>
                        <a:pt x="970" y="906"/>
                      </a:cubicBezTo>
                      <a:cubicBezTo>
                        <a:pt x="971" y="904"/>
                        <a:pt x="972" y="901"/>
                        <a:pt x="974" y="898"/>
                      </a:cubicBezTo>
                      <a:cubicBezTo>
                        <a:pt x="970" y="898"/>
                        <a:pt x="970" y="898"/>
                        <a:pt x="970" y="898"/>
                      </a:cubicBezTo>
                      <a:cubicBezTo>
                        <a:pt x="969" y="895"/>
                        <a:pt x="969" y="895"/>
                        <a:pt x="969" y="895"/>
                      </a:cubicBezTo>
                      <a:cubicBezTo>
                        <a:pt x="969" y="893"/>
                        <a:pt x="969" y="893"/>
                        <a:pt x="969" y="893"/>
                      </a:cubicBezTo>
                      <a:cubicBezTo>
                        <a:pt x="968" y="892"/>
                        <a:pt x="968" y="891"/>
                        <a:pt x="967" y="888"/>
                      </a:cubicBezTo>
                      <a:cubicBezTo>
                        <a:pt x="965" y="890"/>
                        <a:pt x="965" y="890"/>
                        <a:pt x="965" y="890"/>
                      </a:cubicBezTo>
                      <a:cubicBezTo>
                        <a:pt x="963" y="889"/>
                        <a:pt x="963" y="889"/>
                        <a:pt x="963" y="889"/>
                      </a:cubicBezTo>
                      <a:cubicBezTo>
                        <a:pt x="964" y="881"/>
                        <a:pt x="964" y="881"/>
                        <a:pt x="964" y="881"/>
                      </a:cubicBezTo>
                      <a:cubicBezTo>
                        <a:pt x="972" y="874"/>
                        <a:pt x="972" y="874"/>
                        <a:pt x="972" y="874"/>
                      </a:cubicBezTo>
                      <a:cubicBezTo>
                        <a:pt x="975" y="874"/>
                        <a:pt x="975" y="874"/>
                        <a:pt x="975" y="874"/>
                      </a:cubicBezTo>
                      <a:cubicBezTo>
                        <a:pt x="977" y="873"/>
                        <a:pt x="978" y="873"/>
                        <a:pt x="979" y="872"/>
                      </a:cubicBezTo>
                      <a:cubicBezTo>
                        <a:pt x="981" y="870"/>
                        <a:pt x="981" y="870"/>
                        <a:pt x="981" y="870"/>
                      </a:cubicBezTo>
                      <a:cubicBezTo>
                        <a:pt x="982" y="871"/>
                        <a:pt x="982" y="871"/>
                        <a:pt x="982" y="871"/>
                      </a:cubicBezTo>
                      <a:cubicBezTo>
                        <a:pt x="991" y="867"/>
                        <a:pt x="1001" y="863"/>
                        <a:pt x="1004" y="858"/>
                      </a:cubicBezTo>
                      <a:cubicBezTo>
                        <a:pt x="999" y="859"/>
                        <a:pt x="999" y="859"/>
                        <a:pt x="999" y="859"/>
                      </a:cubicBezTo>
                      <a:cubicBezTo>
                        <a:pt x="996" y="858"/>
                        <a:pt x="996" y="858"/>
                        <a:pt x="996" y="858"/>
                      </a:cubicBezTo>
                      <a:cubicBezTo>
                        <a:pt x="997" y="854"/>
                        <a:pt x="997" y="854"/>
                        <a:pt x="997" y="854"/>
                      </a:cubicBezTo>
                      <a:cubicBezTo>
                        <a:pt x="1002" y="853"/>
                        <a:pt x="1002" y="853"/>
                        <a:pt x="1002" y="853"/>
                      </a:cubicBezTo>
                      <a:cubicBezTo>
                        <a:pt x="1005" y="853"/>
                        <a:pt x="1005" y="853"/>
                        <a:pt x="1005" y="853"/>
                      </a:cubicBezTo>
                      <a:cubicBezTo>
                        <a:pt x="1015" y="849"/>
                        <a:pt x="1032" y="845"/>
                        <a:pt x="1038" y="842"/>
                      </a:cubicBezTo>
                      <a:cubicBezTo>
                        <a:pt x="1040" y="841"/>
                        <a:pt x="1040" y="841"/>
                        <a:pt x="1040" y="841"/>
                      </a:cubicBezTo>
                      <a:cubicBezTo>
                        <a:pt x="1041" y="841"/>
                        <a:pt x="1041" y="841"/>
                        <a:pt x="1041" y="841"/>
                      </a:cubicBezTo>
                      <a:cubicBezTo>
                        <a:pt x="1046" y="839"/>
                        <a:pt x="1052" y="839"/>
                        <a:pt x="1059" y="839"/>
                      </a:cubicBezTo>
                      <a:cubicBezTo>
                        <a:pt x="1061" y="839"/>
                        <a:pt x="1061" y="839"/>
                        <a:pt x="1061" y="839"/>
                      </a:cubicBezTo>
                      <a:cubicBezTo>
                        <a:pt x="1064" y="840"/>
                        <a:pt x="1064" y="840"/>
                        <a:pt x="1064" y="840"/>
                      </a:cubicBezTo>
                      <a:cubicBezTo>
                        <a:pt x="1066" y="840"/>
                        <a:pt x="1067" y="841"/>
                        <a:pt x="1068" y="841"/>
                      </a:cubicBezTo>
                      <a:cubicBezTo>
                        <a:pt x="1074" y="841"/>
                        <a:pt x="1074" y="841"/>
                        <a:pt x="1074" y="841"/>
                      </a:cubicBezTo>
                      <a:cubicBezTo>
                        <a:pt x="1081" y="843"/>
                        <a:pt x="1081" y="843"/>
                        <a:pt x="1081" y="843"/>
                      </a:cubicBezTo>
                      <a:cubicBezTo>
                        <a:pt x="1091" y="841"/>
                        <a:pt x="1091" y="841"/>
                        <a:pt x="1091" y="841"/>
                      </a:cubicBezTo>
                      <a:cubicBezTo>
                        <a:pt x="1095" y="844"/>
                        <a:pt x="1095" y="844"/>
                        <a:pt x="1095" y="844"/>
                      </a:cubicBezTo>
                      <a:cubicBezTo>
                        <a:pt x="1098" y="844"/>
                        <a:pt x="1101" y="843"/>
                        <a:pt x="1104" y="842"/>
                      </a:cubicBezTo>
                      <a:cubicBezTo>
                        <a:pt x="1113" y="837"/>
                        <a:pt x="1113" y="837"/>
                        <a:pt x="1113" y="837"/>
                      </a:cubicBezTo>
                      <a:cubicBezTo>
                        <a:pt x="1114" y="837"/>
                        <a:pt x="1114" y="837"/>
                        <a:pt x="1114" y="837"/>
                      </a:cubicBezTo>
                      <a:cubicBezTo>
                        <a:pt x="1117" y="834"/>
                        <a:pt x="1119" y="831"/>
                        <a:pt x="1119" y="826"/>
                      </a:cubicBezTo>
                      <a:cubicBezTo>
                        <a:pt x="1121" y="818"/>
                        <a:pt x="1118" y="814"/>
                        <a:pt x="1114" y="811"/>
                      </a:cubicBezTo>
                      <a:cubicBezTo>
                        <a:pt x="1111" y="809"/>
                        <a:pt x="1111" y="809"/>
                        <a:pt x="1111" y="809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8" y="807"/>
                        <a:pt x="1108" y="807"/>
                        <a:pt x="1108" y="807"/>
                      </a:cubicBezTo>
                      <a:cubicBezTo>
                        <a:pt x="1106" y="806"/>
                        <a:pt x="1106" y="806"/>
                        <a:pt x="1106" y="806"/>
                      </a:cubicBezTo>
                      <a:cubicBezTo>
                        <a:pt x="1099" y="802"/>
                        <a:pt x="1099" y="802"/>
                        <a:pt x="1099" y="802"/>
                      </a:cubicBezTo>
                      <a:cubicBezTo>
                        <a:pt x="1097" y="800"/>
                        <a:pt x="1097" y="800"/>
                        <a:pt x="1097" y="800"/>
                      </a:cubicBezTo>
                      <a:cubicBezTo>
                        <a:pt x="1090" y="794"/>
                        <a:pt x="1082" y="791"/>
                        <a:pt x="1072" y="788"/>
                      </a:cubicBezTo>
                      <a:cubicBezTo>
                        <a:pt x="1069" y="787"/>
                        <a:pt x="1069" y="787"/>
                        <a:pt x="1069" y="787"/>
                      </a:cubicBezTo>
                      <a:cubicBezTo>
                        <a:pt x="1061" y="784"/>
                        <a:pt x="1061" y="784"/>
                        <a:pt x="1061" y="784"/>
                      </a:cubicBezTo>
                      <a:cubicBezTo>
                        <a:pt x="1061" y="782"/>
                        <a:pt x="1061" y="782"/>
                        <a:pt x="1061" y="782"/>
                      </a:cubicBezTo>
                      <a:cubicBezTo>
                        <a:pt x="1060" y="781"/>
                        <a:pt x="1060" y="780"/>
                        <a:pt x="1061" y="780"/>
                      </a:cubicBezTo>
                      <a:cubicBezTo>
                        <a:pt x="1061" y="779"/>
                        <a:pt x="1061" y="779"/>
                        <a:pt x="1061" y="779"/>
                      </a:cubicBezTo>
                      <a:cubicBezTo>
                        <a:pt x="1065" y="779"/>
                        <a:pt x="1065" y="779"/>
                        <a:pt x="1065" y="779"/>
                      </a:cubicBezTo>
                      <a:cubicBezTo>
                        <a:pt x="1065" y="779"/>
                        <a:pt x="1065" y="779"/>
                        <a:pt x="1065" y="779"/>
                      </a:cubicBezTo>
                      <a:cubicBezTo>
                        <a:pt x="1069" y="779"/>
                        <a:pt x="1071" y="775"/>
                        <a:pt x="1074" y="771"/>
                      </a:cubicBezTo>
                      <a:cubicBezTo>
                        <a:pt x="1076" y="766"/>
                        <a:pt x="1076" y="766"/>
                        <a:pt x="1076" y="766"/>
                      </a:cubicBezTo>
                      <a:cubicBezTo>
                        <a:pt x="1073" y="765"/>
                        <a:pt x="1073" y="765"/>
                        <a:pt x="1073" y="765"/>
                      </a:cubicBezTo>
                      <a:cubicBezTo>
                        <a:pt x="1074" y="762"/>
                        <a:pt x="1074" y="762"/>
                        <a:pt x="1074" y="762"/>
                      </a:cubicBezTo>
                      <a:cubicBezTo>
                        <a:pt x="1077" y="762"/>
                        <a:pt x="1077" y="762"/>
                        <a:pt x="1077" y="762"/>
                      </a:cubicBezTo>
                      <a:cubicBezTo>
                        <a:pt x="1080" y="759"/>
                        <a:pt x="1080" y="759"/>
                        <a:pt x="1080" y="759"/>
                      </a:cubicBezTo>
                      <a:cubicBezTo>
                        <a:pt x="1080" y="759"/>
                        <a:pt x="1080" y="759"/>
                        <a:pt x="1080" y="759"/>
                      </a:cubicBezTo>
                      <a:cubicBezTo>
                        <a:pt x="1081" y="757"/>
                        <a:pt x="1082" y="755"/>
                        <a:pt x="1082" y="754"/>
                      </a:cubicBezTo>
                      <a:cubicBezTo>
                        <a:pt x="1081" y="753"/>
                        <a:pt x="1081" y="753"/>
                        <a:pt x="1081" y="753"/>
                      </a:cubicBezTo>
                      <a:cubicBezTo>
                        <a:pt x="1080" y="752"/>
                        <a:pt x="1077" y="753"/>
                        <a:pt x="1074" y="754"/>
                      </a:cubicBezTo>
                      <a:cubicBezTo>
                        <a:pt x="1072" y="756"/>
                        <a:pt x="1072" y="756"/>
                        <a:pt x="1072" y="756"/>
                      </a:cubicBezTo>
                      <a:cubicBezTo>
                        <a:pt x="1065" y="758"/>
                        <a:pt x="1065" y="758"/>
                        <a:pt x="1065" y="758"/>
                      </a:cubicBezTo>
                      <a:cubicBezTo>
                        <a:pt x="1065" y="759"/>
                        <a:pt x="1064" y="759"/>
                        <a:pt x="1064" y="760"/>
                      </a:cubicBezTo>
                      <a:cubicBezTo>
                        <a:pt x="1064" y="760"/>
                        <a:pt x="1064" y="760"/>
                        <a:pt x="1064" y="760"/>
                      </a:cubicBezTo>
                      <a:cubicBezTo>
                        <a:pt x="1063" y="761"/>
                        <a:pt x="1063" y="761"/>
                        <a:pt x="1063" y="761"/>
                      </a:cubicBezTo>
                      <a:cubicBezTo>
                        <a:pt x="1063" y="761"/>
                        <a:pt x="1063" y="761"/>
                        <a:pt x="1063" y="761"/>
                      </a:cubicBezTo>
                      <a:cubicBezTo>
                        <a:pt x="1059" y="765"/>
                        <a:pt x="1052" y="771"/>
                        <a:pt x="1045" y="776"/>
                      </a:cubicBezTo>
                      <a:cubicBezTo>
                        <a:pt x="1045" y="777"/>
                        <a:pt x="1045" y="777"/>
                        <a:pt x="1045" y="777"/>
                      </a:cubicBezTo>
                      <a:cubicBezTo>
                        <a:pt x="1043" y="777"/>
                        <a:pt x="1043" y="777"/>
                        <a:pt x="1043" y="777"/>
                      </a:cubicBezTo>
                      <a:cubicBezTo>
                        <a:pt x="1041" y="779"/>
                        <a:pt x="1038" y="781"/>
                        <a:pt x="1036" y="782"/>
                      </a:cubicBezTo>
                      <a:cubicBezTo>
                        <a:pt x="1040" y="783"/>
                        <a:pt x="1043" y="784"/>
                        <a:pt x="1046" y="783"/>
                      </a:cubicBezTo>
                      <a:cubicBezTo>
                        <a:pt x="1047" y="783"/>
                        <a:pt x="1047" y="783"/>
                        <a:pt x="1047" y="783"/>
                      </a:cubicBezTo>
                      <a:cubicBezTo>
                        <a:pt x="1048" y="783"/>
                        <a:pt x="1049" y="783"/>
                        <a:pt x="1050" y="783"/>
                      </a:cubicBezTo>
                      <a:cubicBezTo>
                        <a:pt x="1057" y="780"/>
                        <a:pt x="1057" y="780"/>
                        <a:pt x="1057" y="780"/>
                      </a:cubicBezTo>
                      <a:cubicBezTo>
                        <a:pt x="1055" y="788"/>
                        <a:pt x="1055" y="788"/>
                        <a:pt x="1055" y="788"/>
                      </a:cubicBezTo>
                      <a:cubicBezTo>
                        <a:pt x="1052" y="788"/>
                        <a:pt x="1052" y="788"/>
                        <a:pt x="1052" y="788"/>
                      </a:cubicBezTo>
                      <a:cubicBezTo>
                        <a:pt x="1050" y="791"/>
                        <a:pt x="1046" y="794"/>
                        <a:pt x="1043" y="797"/>
                      </a:cubicBezTo>
                      <a:cubicBezTo>
                        <a:pt x="1042" y="798"/>
                        <a:pt x="1042" y="798"/>
                        <a:pt x="1042" y="798"/>
                      </a:cubicBezTo>
                      <a:cubicBezTo>
                        <a:pt x="1042" y="798"/>
                        <a:pt x="1042" y="798"/>
                        <a:pt x="1042" y="798"/>
                      </a:cubicBezTo>
                      <a:cubicBezTo>
                        <a:pt x="1039" y="800"/>
                        <a:pt x="1036" y="802"/>
                        <a:pt x="1034" y="805"/>
                      </a:cubicBezTo>
                      <a:cubicBezTo>
                        <a:pt x="1030" y="800"/>
                        <a:pt x="1030" y="800"/>
                        <a:pt x="1030" y="800"/>
                      </a:cubicBezTo>
                      <a:cubicBezTo>
                        <a:pt x="1030" y="798"/>
                        <a:pt x="1030" y="798"/>
                        <a:pt x="1030" y="798"/>
                      </a:cubicBezTo>
                      <a:cubicBezTo>
                        <a:pt x="1030" y="797"/>
                        <a:pt x="1029" y="795"/>
                        <a:pt x="1029" y="794"/>
                      </a:cubicBezTo>
                      <a:cubicBezTo>
                        <a:pt x="1028" y="791"/>
                        <a:pt x="1028" y="791"/>
                        <a:pt x="1028" y="791"/>
                      </a:cubicBezTo>
                      <a:cubicBezTo>
                        <a:pt x="1030" y="788"/>
                        <a:pt x="1030" y="788"/>
                        <a:pt x="1030" y="788"/>
                      </a:cubicBezTo>
                      <a:cubicBezTo>
                        <a:pt x="1031" y="786"/>
                        <a:pt x="1031" y="786"/>
                        <a:pt x="1031" y="786"/>
                      </a:cubicBezTo>
                      <a:cubicBezTo>
                        <a:pt x="1030" y="787"/>
                        <a:pt x="1028" y="785"/>
                        <a:pt x="1026" y="783"/>
                      </a:cubicBezTo>
                      <a:cubicBezTo>
                        <a:pt x="1023" y="784"/>
                        <a:pt x="1023" y="784"/>
                        <a:pt x="1023" y="784"/>
                      </a:cubicBezTo>
                      <a:cubicBezTo>
                        <a:pt x="1018" y="779"/>
                        <a:pt x="1018" y="779"/>
                        <a:pt x="1018" y="779"/>
                      </a:cubicBezTo>
                      <a:cubicBezTo>
                        <a:pt x="1019" y="776"/>
                        <a:pt x="1019" y="776"/>
                        <a:pt x="1019" y="776"/>
                      </a:cubicBezTo>
                      <a:cubicBezTo>
                        <a:pt x="1019" y="776"/>
                        <a:pt x="1019" y="775"/>
                        <a:pt x="1020" y="775"/>
                      </a:cubicBezTo>
                      <a:cubicBezTo>
                        <a:pt x="1015" y="774"/>
                        <a:pt x="1012" y="775"/>
                        <a:pt x="1009" y="776"/>
                      </a:cubicBezTo>
                      <a:cubicBezTo>
                        <a:pt x="1005" y="780"/>
                        <a:pt x="1005" y="780"/>
                        <a:pt x="1005" y="780"/>
                      </a:cubicBezTo>
                      <a:cubicBezTo>
                        <a:pt x="1002" y="780"/>
                        <a:pt x="1002" y="780"/>
                        <a:pt x="1002" y="780"/>
                      </a:cubicBezTo>
                      <a:cubicBezTo>
                        <a:pt x="1000" y="782"/>
                        <a:pt x="998" y="785"/>
                        <a:pt x="996" y="788"/>
                      </a:cubicBezTo>
                      <a:cubicBezTo>
                        <a:pt x="996" y="788"/>
                        <a:pt x="996" y="788"/>
                        <a:pt x="996" y="788"/>
                      </a:cubicBezTo>
                      <a:cubicBezTo>
                        <a:pt x="995" y="789"/>
                        <a:pt x="995" y="789"/>
                        <a:pt x="995" y="789"/>
                      </a:cubicBezTo>
                      <a:cubicBezTo>
                        <a:pt x="994" y="790"/>
                        <a:pt x="993" y="792"/>
                        <a:pt x="992" y="793"/>
                      </a:cubicBezTo>
                      <a:cubicBezTo>
                        <a:pt x="991" y="797"/>
                        <a:pt x="991" y="797"/>
                        <a:pt x="991" y="797"/>
                      </a:cubicBezTo>
                      <a:cubicBezTo>
                        <a:pt x="984" y="799"/>
                        <a:pt x="984" y="799"/>
                        <a:pt x="984" y="799"/>
                      </a:cubicBezTo>
                      <a:cubicBezTo>
                        <a:pt x="987" y="803"/>
                        <a:pt x="987" y="803"/>
                        <a:pt x="987" y="803"/>
                      </a:cubicBezTo>
                      <a:cubicBezTo>
                        <a:pt x="987" y="808"/>
                        <a:pt x="987" y="808"/>
                        <a:pt x="987" y="808"/>
                      </a:cubicBezTo>
                      <a:cubicBezTo>
                        <a:pt x="987" y="813"/>
                        <a:pt x="987" y="818"/>
                        <a:pt x="985" y="824"/>
                      </a:cubicBezTo>
                      <a:cubicBezTo>
                        <a:pt x="986" y="827"/>
                        <a:pt x="986" y="827"/>
                        <a:pt x="986" y="827"/>
                      </a:cubicBezTo>
                      <a:cubicBezTo>
                        <a:pt x="982" y="835"/>
                        <a:pt x="982" y="835"/>
                        <a:pt x="982" y="835"/>
                      </a:cubicBezTo>
                      <a:cubicBezTo>
                        <a:pt x="982" y="835"/>
                        <a:pt x="982" y="835"/>
                        <a:pt x="982" y="835"/>
                      </a:cubicBezTo>
                      <a:cubicBezTo>
                        <a:pt x="980" y="838"/>
                        <a:pt x="981" y="841"/>
                        <a:pt x="982" y="844"/>
                      </a:cubicBezTo>
                      <a:cubicBezTo>
                        <a:pt x="983" y="844"/>
                        <a:pt x="983" y="844"/>
                        <a:pt x="983" y="844"/>
                      </a:cubicBezTo>
                      <a:cubicBezTo>
                        <a:pt x="985" y="848"/>
                        <a:pt x="985" y="848"/>
                        <a:pt x="985" y="848"/>
                      </a:cubicBezTo>
                      <a:cubicBezTo>
                        <a:pt x="986" y="849"/>
                        <a:pt x="986" y="849"/>
                        <a:pt x="986" y="849"/>
                      </a:cubicBezTo>
                      <a:cubicBezTo>
                        <a:pt x="993" y="854"/>
                        <a:pt x="993" y="854"/>
                        <a:pt x="993" y="854"/>
                      </a:cubicBezTo>
                      <a:cubicBezTo>
                        <a:pt x="993" y="858"/>
                        <a:pt x="993" y="858"/>
                        <a:pt x="993" y="858"/>
                      </a:cubicBezTo>
                      <a:cubicBezTo>
                        <a:pt x="986" y="857"/>
                        <a:pt x="986" y="857"/>
                        <a:pt x="986" y="857"/>
                      </a:cubicBezTo>
                      <a:cubicBezTo>
                        <a:pt x="977" y="859"/>
                        <a:pt x="974" y="868"/>
                        <a:pt x="967" y="872"/>
                      </a:cubicBezTo>
                      <a:cubicBezTo>
                        <a:pt x="965" y="874"/>
                        <a:pt x="965" y="874"/>
                        <a:pt x="965" y="874"/>
                      </a:cubicBezTo>
                      <a:cubicBezTo>
                        <a:pt x="961" y="874"/>
                        <a:pt x="961" y="874"/>
                        <a:pt x="961" y="874"/>
                      </a:cubicBezTo>
                      <a:cubicBezTo>
                        <a:pt x="961" y="871"/>
                        <a:pt x="960" y="869"/>
                        <a:pt x="958" y="868"/>
                      </a:cubicBezTo>
                      <a:cubicBezTo>
                        <a:pt x="957" y="869"/>
                        <a:pt x="957" y="869"/>
                        <a:pt x="957" y="869"/>
                      </a:cubicBezTo>
                      <a:cubicBezTo>
                        <a:pt x="955" y="868"/>
                        <a:pt x="955" y="868"/>
                        <a:pt x="955" y="868"/>
                      </a:cubicBezTo>
                      <a:cubicBezTo>
                        <a:pt x="944" y="867"/>
                        <a:pt x="944" y="867"/>
                        <a:pt x="944" y="867"/>
                      </a:cubicBezTo>
                      <a:cubicBezTo>
                        <a:pt x="942" y="868"/>
                        <a:pt x="940" y="868"/>
                        <a:pt x="939" y="869"/>
                      </a:cubicBezTo>
                      <a:cubicBezTo>
                        <a:pt x="930" y="873"/>
                        <a:pt x="930" y="873"/>
                        <a:pt x="930" y="873"/>
                      </a:cubicBezTo>
                      <a:cubicBezTo>
                        <a:pt x="934" y="877"/>
                        <a:pt x="934" y="877"/>
                        <a:pt x="934" y="877"/>
                      </a:cubicBezTo>
                      <a:cubicBezTo>
                        <a:pt x="931" y="880"/>
                        <a:pt x="931" y="880"/>
                        <a:pt x="931" y="880"/>
                      </a:cubicBezTo>
                      <a:cubicBezTo>
                        <a:pt x="931" y="880"/>
                        <a:pt x="931" y="881"/>
                        <a:pt x="930" y="881"/>
                      </a:cubicBezTo>
                      <a:cubicBezTo>
                        <a:pt x="930" y="883"/>
                        <a:pt x="930" y="883"/>
                        <a:pt x="930" y="883"/>
                      </a:cubicBezTo>
                      <a:cubicBezTo>
                        <a:pt x="923" y="882"/>
                        <a:pt x="923" y="882"/>
                        <a:pt x="923" y="882"/>
                      </a:cubicBezTo>
                      <a:cubicBezTo>
                        <a:pt x="923" y="876"/>
                        <a:pt x="923" y="876"/>
                        <a:pt x="923" y="876"/>
                      </a:cubicBezTo>
                      <a:cubicBezTo>
                        <a:pt x="919" y="875"/>
                        <a:pt x="919" y="875"/>
                        <a:pt x="919" y="875"/>
                      </a:cubicBezTo>
                      <a:cubicBezTo>
                        <a:pt x="919" y="878"/>
                        <a:pt x="919" y="881"/>
                        <a:pt x="919" y="884"/>
                      </a:cubicBezTo>
                      <a:cubicBezTo>
                        <a:pt x="922" y="888"/>
                        <a:pt x="922" y="888"/>
                        <a:pt x="922" y="888"/>
                      </a:cubicBezTo>
                      <a:cubicBezTo>
                        <a:pt x="923" y="895"/>
                        <a:pt x="923" y="895"/>
                        <a:pt x="923" y="895"/>
                      </a:cubicBezTo>
                      <a:cubicBezTo>
                        <a:pt x="925" y="899"/>
                        <a:pt x="928" y="903"/>
                        <a:pt x="933" y="907"/>
                      </a:cubicBezTo>
                      <a:cubicBezTo>
                        <a:pt x="937" y="909"/>
                        <a:pt x="937" y="909"/>
                        <a:pt x="937" y="909"/>
                      </a:cubicBezTo>
                      <a:cubicBezTo>
                        <a:pt x="937" y="911"/>
                        <a:pt x="937" y="911"/>
                        <a:pt x="937" y="911"/>
                      </a:cubicBezTo>
                      <a:cubicBezTo>
                        <a:pt x="937" y="911"/>
                        <a:pt x="937" y="911"/>
                        <a:pt x="937" y="911"/>
                      </a:cubicBezTo>
                      <a:cubicBezTo>
                        <a:pt x="937" y="913"/>
                        <a:pt x="937" y="913"/>
                        <a:pt x="937" y="913"/>
                      </a:cubicBezTo>
                      <a:cubicBezTo>
                        <a:pt x="935" y="915"/>
                        <a:pt x="935" y="915"/>
                        <a:pt x="935" y="915"/>
                      </a:cubicBezTo>
                      <a:cubicBezTo>
                        <a:pt x="933" y="913"/>
                        <a:pt x="933" y="913"/>
                        <a:pt x="933" y="913"/>
                      </a:cubicBezTo>
                      <a:cubicBezTo>
                        <a:pt x="930" y="914"/>
                        <a:pt x="924" y="915"/>
                        <a:pt x="921" y="918"/>
                      </a:cubicBezTo>
                      <a:cubicBezTo>
                        <a:pt x="925" y="920"/>
                        <a:pt x="925" y="920"/>
                        <a:pt x="925" y="920"/>
                      </a:cubicBezTo>
                      <a:cubicBezTo>
                        <a:pt x="925" y="922"/>
                        <a:pt x="925" y="922"/>
                        <a:pt x="925" y="922"/>
                      </a:cubicBezTo>
                      <a:cubicBezTo>
                        <a:pt x="922" y="924"/>
                        <a:pt x="922" y="924"/>
                        <a:pt x="922" y="924"/>
                      </a:cubicBezTo>
                      <a:cubicBezTo>
                        <a:pt x="918" y="922"/>
                        <a:pt x="918" y="922"/>
                        <a:pt x="918" y="922"/>
                      </a:cubicBezTo>
                      <a:cubicBezTo>
                        <a:pt x="918" y="924"/>
                        <a:pt x="919" y="926"/>
                        <a:pt x="919" y="928"/>
                      </a:cubicBezTo>
                      <a:cubicBezTo>
                        <a:pt x="919" y="928"/>
                        <a:pt x="919" y="928"/>
                        <a:pt x="919" y="928"/>
                      </a:cubicBezTo>
                      <a:cubicBezTo>
                        <a:pt x="918" y="932"/>
                        <a:pt x="918" y="932"/>
                        <a:pt x="918" y="932"/>
                      </a:cubicBezTo>
                      <a:cubicBezTo>
                        <a:pt x="917" y="931"/>
                        <a:pt x="917" y="931"/>
                        <a:pt x="917" y="931"/>
                      </a:cubicBezTo>
                      <a:cubicBezTo>
                        <a:pt x="916" y="932"/>
                        <a:pt x="914" y="932"/>
                        <a:pt x="913" y="932"/>
                      </a:cubicBezTo>
                      <a:cubicBezTo>
                        <a:pt x="913" y="932"/>
                        <a:pt x="913" y="932"/>
                        <a:pt x="913" y="932"/>
                      </a:cubicBezTo>
                      <a:cubicBezTo>
                        <a:pt x="902" y="927"/>
                        <a:pt x="902" y="927"/>
                        <a:pt x="902" y="927"/>
                      </a:cubicBezTo>
                      <a:cubicBezTo>
                        <a:pt x="901" y="923"/>
                        <a:pt x="901" y="923"/>
                        <a:pt x="901" y="923"/>
                      </a:cubicBezTo>
                      <a:cubicBezTo>
                        <a:pt x="902" y="920"/>
                        <a:pt x="902" y="920"/>
                        <a:pt x="902" y="920"/>
                      </a:cubicBezTo>
                      <a:cubicBezTo>
                        <a:pt x="901" y="918"/>
                        <a:pt x="901" y="917"/>
                        <a:pt x="900" y="915"/>
                      </a:cubicBezTo>
                      <a:cubicBezTo>
                        <a:pt x="898" y="912"/>
                        <a:pt x="898" y="912"/>
                        <a:pt x="898" y="912"/>
                      </a:cubicBezTo>
                      <a:cubicBezTo>
                        <a:pt x="896" y="910"/>
                        <a:pt x="896" y="910"/>
                        <a:pt x="896" y="910"/>
                      </a:cubicBezTo>
                      <a:cubicBezTo>
                        <a:pt x="904" y="908"/>
                        <a:pt x="904" y="908"/>
                        <a:pt x="904" y="908"/>
                      </a:cubicBezTo>
                      <a:cubicBezTo>
                        <a:pt x="907" y="910"/>
                        <a:pt x="907" y="910"/>
                        <a:pt x="907" y="910"/>
                      </a:cubicBezTo>
                      <a:cubicBezTo>
                        <a:pt x="908" y="910"/>
                        <a:pt x="908" y="910"/>
                        <a:pt x="908" y="910"/>
                      </a:cubicBezTo>
                      <a:cubicBezTo>
                        <a:pt x="912" y="910"/>
                        <a:pt x="916" y="910"/>
                        <a:pt x="916" y="908"/>
                      </a:cubicBezTo>
                      <a:cubicBezTo>
                        <a:pt x="917" y="906"/>
                        <a:pt x="912" y="905"/>
                        <a:pt x="908" y="903"/>
                      </a:cubicBezTo>
                      <a:cubicBezTo>
                        <a:pt x="902" y="904"/>
                        <a:pt x="902" y="904"/>
                        <a:pt x="902" y="904"/>
                      </a:cubicBezTo>
                      <a:cubicBezTo>
                        <a:pt x="900" y="901"/>
                        <a:pt x="900" y="901"/>
                        <a:pt x="900" y="901"/>
                      </a:cubicBezTo>
                      <a:cubicBezTo>
                        <a:pt x="899" y="898"/>
                        <a:pt x="899" y="898"/>
                        <a:pt x="899" y="898"/>
                      </a:cubicBezTo>
                      <a:cubicBezTo>
                        <a:pt x="899" y="898"/>
                        <a:pt x="899" y="898"/>
                        <a:pt x="899" y="898"/>
                      </a:cubicBezTo>
                      <a:cubicBezTo>
                        <a:pt x="897" y="893"/>
                        <a:pt x="893" y="890"/>
                        <a:pt x="890" y="887"/>
                      </a:cubicBezTo>
                      <a:cubicBezTo>
                        <a:pt x="887" y="885"/>
                        <a:pt x="887" y="885"/>
                        <a:pt x="887" y="885"/>
                      </a:cubicBezTo>
                      <a:cubicBezTo>
                        <a:pt x="881" y="879"/>
                        <a:pt x="881" y="879"/>
                        <a:pt x="881" y="879"/>
                      </a:cubicBezTo>
                      <a:cubicBezTo>
                        <a:pt x="881" y="873"/>
                        <a:pt x="881" y="873"/>
                        <a:pt x="881" y="873"/>
                      </a:cubicBezTo>
                      <a:cubicBezTo>
                        <a:pt x="881" y="872"/>
                        <a:pt x="881" y="872"/>
                        <a:pt x="881" y="872"/>
                      </a:cubicBezTo>
                      <a:cubicBezTo>
                        <a:pt x="882" y="869"/>
                        <a:pt x="883" y="865"/>
                        <a:pt x="884" y="862"/>
                      </a:cubicBezTo>
                      <a:cubicBezTo>
                        <a:pt x="884" y="856"/>
                        <a:pt x="884" y="856"/>
                        <a:pt x="884" y="856"/>
                      </a:cubicBezTo>
                      <a:cubicBezTo>
                        <a:pt x="878" y="847"/>
                        <a:pt x="878" y="847"/>
                        <a:pt x="878" y="847"/>
                      </a:cubicBezTo>
                      <a:cubicBezTo>
                        <a:pt x="874" y="842"/>
                        <a:pt x="874" y="842"/>
                        <a:pt x="874" y="842"/>
                      </a:cubicBezTo>
                      <a:cubicBezTo>
                        <a:pt x="867" y="837"/>
                        <a:pt x="867" y="837"/>
                        <a:pt x="867" y="837"/>
                      </a:cubicBezTo>
                      <a:cubicBezTo>
                        <a:pt x="858" y="832"/>
                        <a:pt x="846" y="828"/>
                        <a:pt x="840" y="821"/>
                      </a:cubicBezTo>
                      <a:cubicBezTo>
                        <a:pt x="840" y="820"/>
                        <a:pt x="840" y="820"/>
                        <a:pt x="840" y="820"/>
                      </a:cubicBezTo>
                      <a:cubicBezTo>
                        <a:pt x="839" y="818"/>
                        <a:pt x="839" y="818"/>
                        <a:pt x="839" y="818"/>
                      </a:cubicBezTo>
                      <a:cubicBezTo>
                        <a:pt x="834" y="808"/>
                        <a:pt x="830" y="806"/>
                        <a:pt x="824" y="798"/>
                      </a:cubicBezTo>
                      <a:cubicBezTo>
                        <a:pt x="821" y="794"/>
                        <a:pt x="833" y="785"/>
                        <a:pt x="818" y="791"/>
                      </a:cubicBezTo>
                      <a:cubicBezTo>
                        <a:pt x="813" y="793"/>
                        <a:pt x="811" y="796"/>
                        <a:pt x="810" y="799"/>
                      </a:cubicBezTo>
                      <a:cubicBezTo>
                        <a:pt x="811" y="802"/>
                        <a:pt x="811" y="802"/>
                        <a:pt x="811" y="802"/>
                      </a:cubicBezTo>
                      <a:cubicBezTo>
                        <a:pt x="809" y="803"/>
                        <a:pt x="809" y="803"/>
                        <a:pt x="809" y="803"/>
                      </a:cubicBezTo>
                      <a:cubicBezTo>
                        <a:pt x="810" y="807"/>
                        <a:pt x="811" y="810"/>
                        <a:pt x="812" y="814"/>
                      </a:cubicBezTo>
                      <a:cubicBezTo>
                        <a:pt x="812" y="814"/>
                        <a:pt x="812" y="814"/>
                        <a:pt x="812" y="814"/>
                      </a:cubicBezTo>
                      <a:cubicBezTo>
                        <a:pt x="817" y="818"/>
                        <a:pt x="817" y="818"/>
                        <a:pt x="817" y="818"/>
                      </a:cubicBezTo>
                      <a:cubicBezTo>
                        <a:pt x="822" y="823"/>
                        <a:pt x="822" y="823"/>
                        <a:pt x="822" y="823"/>
                      </a:cubicBezTo>
                      <a:cubicBezTo>
                        <a:pt x="824" y="832"/>
                        <a:pt x="824" y="832"/>
                        <a:pt x="824" y="832"/>
                      </a:cubicBezTo>
                      <a:cubicBezTo>
                        <a:pt x="827" y="837"/>
                        <a:pt x="831" y="842"/>
                        <a:pt x="835" y="846"/>
                      </a:cubicBezTo>
                      <a:cubicBezTo>
                        <a:pt x="840" y="847"/>
                        <a:pt x="840" y="847"/>
                        <a:pt x="840" y="847"/>
                      </a:cubicBezTo>
                      <a:cubicBezTo>
                        <a:pt x="842" y="852"/>
                        <a:pt x="842" y="852"/>
                        <a:pt x="842" y="852"/>
                      </a:cubicBezTo>
                      <a:cubicBezTo>
                        <a:pt x="846" y="858"/>
                        <a:pt x="846" y="858"/>
                        <a:pt x="846" y="858"/>
                      </a:cubicBezTo>
                      <a:cubicBezTo>
                        <a:pt x="853" y="865"/>
                        <a:pt x="853" y="865"/>
                        <a:pt x="853" y="865"/>
                      </a:cubicBezTo>
                      <a:cubicBezTo>
                        <a:pt x="854" y="866"/>
                        <a:pt x="857" y="868"/>
                        <a:pt x="860" y="870"/>
                      </a:cubicBezTo>
                      <a:cubicBezTo>
                        <a:pt x="864" y="871"/>
                        <a:pt x="864" y="871"/>
                        <a:pt x="864" y="871"/>
                      </a:cubicBezTo>
                      <a:cubicBezTo>
                        <a:pt x="866" y="874"/>
                        <a:pt x="866" y="874"/>
                        <a:pt x="866" y="874"/>
                      </a:cubicBezTo>
                      <a:cubicBezTo>
                        <a:pt x="871" y="878"/>
                        <a:pt x="875" y="882"/>
                        <a:pt x="871" y="886"/>
                      </a:cubicBezTo>
                      <a:cubicBezTo>
                        <a:pt x="870" y="886"/>
                        <a:pt x="870" y="886"/>
                        <a:pt x="869" y="886"/>
                      </a:cubicBezTo>
                      <a:cubicBezTo>
                        <a:pt x="868" y="886"/>
                        <a:pt x="868" y="886"/>
                        <a:pt x="868" y="886"/>
                      </a:cubicBezTo>
                      <a:cubicBezTo>
                        <a:pt x="867" y="885"/>
                        <a:pt x="867" y="885"/>
                        <a:pt x="867" y="885"/>
                      </a:cubicBezTo>
                      <a:cubicBezTo>
                        <a:pt x="865" y="883"/>
                        <a:pt x="863" y="882"/>
                        <a:pt x="862" y="880"/>
                      </a:cubicBezTo>
                      <a:cubicBezTo>
                        <a:pt x="859" y="879"/>
                        <a:pt x="859" y="879"/>
                        <a:pt x="859" y="879"/>
                      </a:cubicBezTo>
                      <a:cubicBezTo>
                        <a:pt x="855" y="877"/>
                        <a:pt x="855" y="877"/>
                        <a:pt x="855" y="877"/>
                      </a:cubicBezTo>
                      <a:cubicBezTo>
                        <a:pt x="849" y="889"/>
                        <a:pt x="849" y="889"/>
                        <a:pt x="849" y="889"/>
                      </a:cubicBezTo>
                      <a:cubicBezTo>
                        <a:pt x="850" y="890"/>
                        <a:pt x="850" y="890"/>
                        <a:pt x="850" y="890"/>
                      </a:cubicBezTo>
                      <a:cubicBezTo>
                        <a:pt x="851" y="893"/>
                        <a:pt x="851" y="893"/>
                        <a:pt x="851" y="893"/>
                      </a:cubicBezTo>
                      <a:cubicBezTo>
                        <a:pt x="846" y="901"/>
                        <a:pt x="846" y="901"/>
                        <a:pt x="846" y="901"/>
                      </a:cubicBezTo>
                      <a:cubicBezTo>
                        <a:pt x="841" y="909"/>
                        <a:pt x="841" y="909"/>
                        <a:pt x="841" y="909"/>
                      </a:cubicBezTo>
                      <a:cubicBezTo>
                        <a:pt x="838" y="912"/>
                        <a:pt x="838" y="912"/>
                        <a:pt x="838" y="912"/>
                      </a:cubicBezTo>
                      <a:cubicBezTo>
                        <a:pt x="836" y="911"/>
                        <a:pt x="836" y="911"/>
                        <a:pt x="836" y="911"/>
                      </a:cubicBezTo>
                      <a:cubicBezTo>
                        <a:pt x="836" y="900"/>
                        <a:pt x="839" y="896"/>
                        <a:pt x="838" y="887"/>
                      </a:cubicBezTo>
                      <a:cubicBezTo>
                        <a:pt x="838" y="885"/>
                        <a:pt x="837" y="883"/>
                        <a:pt x="836" y="882"/>
                      </a:cubicBezTo>
                      <a:cubicBezTo>
                        <a:pt x="831" y="877"/>
                        <a:pt x="831" y="877"/>
                        <a:pt x="831" y="877"/>
                      </a:cubicBezTo>
                      <a:cubicBezTo>
                        <a:pt x="830" y="874"/>
                        <a:pt x="830" y="874"/>
                        <a:pt x="830" y="874"/>
                      </a:cubicBezTo>
                      <a:cubicBezTo>
                        <a:pt x="827" y="873"/>
                        <a:pt x="825" y="871"/>
                        <a:pt x="823" y="869"/>
                      </a:cubicBezTo>
                      <a:cubicBezTo>
                        <a:pt x="823" y="869"/>
                        <a:pt x="823" y="869"/>
                        <a:pt x="823" y="869"/>
                      </a:cubicBezTo>
                      <a:cubicBezTo>
                        <a:pt x="822" y="868"/>
                        <a:pt x="822" y="868"/>
                        <a:pt x="822" y="868"/>
                      </a:cubicBezTo>
                      <a:cubicBezTo>
                        <a:pt x="812" y="858"/>
                        <a:pt x="800" y="849"/>
                        <a:pt x="791" y="839"/>
                      </a:cubicBezTo>
                      <a:cubicBezTo>
                        <a:pt x="791" y="839"/>
                        <a:pt x="791" y="839"/>
                        <a:pt x="791" y="839"/>
                      </a:cubicBezTo>
                      <a:cubicBezTo>
                        <a:pt x="783" y="827"/>
                        <a:pt x="783" y="827"/>
                        <a:pt x="783" y="827"/>
                      </a:cubicBezTo>
                      <a:cubicBezTo>
                        <a:pt x="782" y="821"/>
                        <a:pt x="782" y="821"/>
                        <a:pt x="782" y="821"/>
                      </a:cubicBezTo>
                      <a:cubicBezTo>
                        <a:pt x="781" y="818"/>
                        <a:pt x="779" y="815"/>
                        <a:pt x="777" y="813"/>
                      </a:cubicBezTo>
                      <a:cubicBezTo>
                        <a:pt x="775" y="812"/>
                        <a:pt x="775" y="812"/>
                        <a:pt x="775" y="812"/>
                      </a:cubicBezTo>
                      <a:cubicBezTo>
                        <a:pt x="773" y="811"/>
                        <a:pt x="771" y="810"/>
                        <a:pt x="768" y="811"/>
                      </a:cubicBezTo>
                      <a:cubicBezTo>
                        <a:pt x="767" y="811"/>
                        <a:pt x="765" y="811"/>
                        <a:pt x="763" y="812"/>
                      </a:cubicBezTo>
                      <a:cubicBezTo>
                        <a:pt x="760" y="816"/>
                        <a:pt x="760" y="816"/>
                        <a:pt x="760" y="816"/>
                      </a:cubicBezTo>
                      <a:cubicBezTo>
                        <a:pt x="756" y="816"/>
                        <a:pt x="756" y="816"/>
                        <a:pt x="756" y="816"/>
                      </a:cubicBezTo>
                      <a:cubicBezTo>
                        <a:pt x="754" y="817"/>
                        <a:pt x="752" y="819"/>
                        <a:pt x="749" y="820"/>
                      </a:cubicBezTo>
                      <a:cubicBezTo>
                        <a:pt x="748" y="821"/>
                        <a:pt x="748" y="821"/>
                        <a:pt x="748" y="821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4" y="822"/>
                        <a:pt x="744" y="822"/>
                        <a:pt x="744" y="822"/>
                      </a:cubicBezTo>
                      <a:cubicBezTo>
                        <a:pt x="740" y="822"/>
                        <a:pt x="740" y="822"/>
                        <a:pt x="740" y="822"/>
                      </a:cubicBezTo>
                      <a:cubicBezTo>
                        <a:pt x="739" y="822"/>
                        <a:pt x="739" y="822"/>
                        <a:pt x="739" y="822"/>
                      </a:cubicBezTo>
                      <a:cubicBezTo>
                        <a:pt x="731" y="822"/>
                        <a:pt x="725" y="817"/>
                        <a:pt x="719" y="816"/>
                      </a:cubicBezTo>
                      <a:cubicBezTo>
                        <a:pt x="718" y="816"/>
                        <a:pt x="718" y="816"/>
                        <a:pt x="718" y="816"/>
                      </a:cubicBezTo>
                      <a:cubicBezTo>
                        <a:pt x="717" y="815"/>
                        <a:pt x="717" y="815"/>
                        <a:pt x="717" y="815"/>
                      </a:cubicBezTo>
                      <a:cubicBezTo>
                        <a:pt x="714" y="815"/>
                        <a:pt x="711" y="815"/>
                        <a:pt x="709" y="816"/>
                      </a:cubicBezTo>
                      <a:cubicBezTo>
                        <a:pt x="702" y="823"/>
                        <a:pt x="702" y="823"/>
                        <a:pt x="702" y="823"/>
                      </a:cubicBezTo>
                      <a:cubicBezTo>
                        <a:pt x="701" y="832"/>
                        <a:pt x="701" y="832"/>
                        <a:pt x="701" y="832"/>
                      </a:cubicBezTo>
                      <a:cubicBezTo>
                        <a:pt x="702" y="834"/>
                        <a:pt x="702" y="834"/>
                        <a:pt x="702" y="834"/>
                      </a:cubicBezTo>
                      <a:cubicBezTo>
                        <a:pt x="700" y="839"/>
                        <a:pt x="700" y="839"/>
                        <a:pt x="700" y="839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7" y="845"/>
                        <a:pt x="687" y="845"/>
                        <a:pt x="687" y="845"/>
                      </a:cubicBezTo>
                      <a:cubicBezTo>
                        <a:pt x="685" y="846"/>
                        <a:pt x="685" y="846"/>
                        <a:pt x="685" y="846"/>
                      </a:cubicBezTo>
                      <a:cubicBezTo>
                        <a:pt x="683" y="846"/>
                        <a:pt x="683" y="846"/>
                        <a:pt x="683" y="846"/>
                      </a:cubicBezTo>
                      <a:cubicBezTo>
                        <a:pt x="680" y="847"/>
                        <a:pt x="676" y="847"/>
                        <a:pt x="673" y="847"/>
                      </a:cubicBezTo>
                      <a:cubicBezTo>
                        <a:pt x="667" y="849"/>
                        <a:pt x="667" y="849"/>
                        <a:pt x="667" y="849"/>
                      </a:cubicBezTo>
                      <a:cubicBezTo>
                        <a:pt x="666" y="850"/>
                        <a:pt x="665" y="851"/>
                        <a:pt x="664" y="853"/>
                      </a:cubicBezTo>
                      <a:cubicBezTo>
                        <a:pt x="664" y="853"/>
                        <a:pt x="664" y="853"/>
                        <a:pt x="664" y="853"/>
                      </a:cubicBezTo>
                      <a:cubicBezTo>
                        <a:pt x="659" y="860"/>
                        <a:pt x="659" y="860"/>
                        <a:pt x="659" y="860"/>
                      </a:cubicBezTo>
                      <a:cubicBezTo>
                        <a:pt x="653" y="865"/>
                        <a:pt x="653" y="865"/>
                        <a:pt x="653" y="865"/>
                      </a:cubicBezTo>
                      <a:cubicBezTo>
                        <a:pt x="651" y="868"/>
                        <a:pt x="650" y="871"/>
                        <a:pt x="652" y="875"/>
                      </a:cubicBezTo>
                      <a:cubicBezTo>
                        <a:pt x="653" y="878"/>
                        <a:pt x="653" y="878"/>
                        <a:pt x="653" y="878"/>
                      </a:cubicBezTo>
                      <a:cubicBezTo>
                        <a:pt x="653" y="881"/>
                        <a:pt x="653" y="881"/>
                        <a:pt x="653" y="881"/>
                      </a:cubicBezTo>
                      <a:cubicBezTo>
                        <a:pt x="650" y="881"/>
                        <a:pt x="650" y="881"/>
                        <a:pt x="650" y="881"/>
                      </a:cubicBezTo>
                      <a:cubicBezTo>
                        <a:pt x="647" y="883"/>
                        <a:pt x="641" y="884"/>
                        <a:pt x="639" y="886"/>
                      </a:cubicBezTo>
                      <a:cubicBezTo>
                        <a:pt x="639" y="886"/>
                        <a:pt x="639" y="886"/>
                        <a:pt x="639" y="886"/>
                      </a:cubicBezTo>
                      <a:cubicBezTo>
                        <a:pt x="636" y="889"/>
                        <a:pt x="636" y="889"/>
                        <a:pt x="636" y="889"/>
                      </a:cubicBezTo>
                      <a:cubicBezTo>
                        <a:pt x="635" y="889"/>
                        <a:pt x="635" y="889"/>
                        <a:pt x="635" y="889"/>
                      </a:cubicBezTo>
                      <a:cubicBezTo>
                        <a:pt x="631" y="892"/>
                        <a:pt x="626" y="894"/>
                        <a:pt x="621" y="896"/>
                      </a:cubicBezTo>
                      <a:cubicBezTo>
                        <a:pt x="621" y="899"/>
                        <a:pt x="621" y="899"/>
                        <a:pt x="621" y="899"/>
                      </a:cubicBezTo>
                      <a:cubicBezTo>
                        <a:pt x="608" y="899"/>
                        <a:pt x="608" y="899"/>
                        <a:pt x="608" y="899"/>
                      </a:cubicBezTo>
                      <a:cubicBezTo>
                        <a:pt x="598" y="897"/>
                        <a:pt x="598" y="897"/>
                        <a:pt x="598" y="897"/>
                      </a:cubicBezTo>
                      <a:cubicBezTo>
                        <a:pt x="594" y="896"/>
                        <a:pt x="594" y="896"/>
                        <a:pt x="594" y="896"/>
                      </a:cubicBezTo>
                      <a:cubicBezTo>
                        <a:pt x="587" y="896"/>
                        <a:pt x="587" y="896"/>
                        <a:pt x="587" y="896"/>
                      </a:cubicBezTo>
                      <a:cubicBezTo>
                        <a:pt x="585" y="896"/>
                        <a:pt x="584" y="896"/>
                        <a:pt x="583" y="897"/>
                      </a:cubicBezTo>
                      <a:cubicBezTo>
                        <a:pt x="581" y="899"/>
                        <a:pt x="581" y="899"/>
                        <a:pt x="581" y="899"/>
                      </a:cubicBezTo>
                      <a:cubicBezTo>
                        <a:pt x="580" y="899"/>
                        <a:pt x="580" y="899"/>
                        <a:pt x="580" y="899"/>
                      </a:cubicBezTo>
                      <a:cubicBezTo>
                        <a:pt x="578" y="899"/>
                        <a:pt x="576" y="899"/>
                        <a:pt x="574" y="899"/>
                      </a:cubicBezTo>
                      <a:cubicBezTo>
                        <a:pt x="573" y="899"/>
                        <a:pt x="573" y="899"/>
                        <a:pt x="573" y="899"/>
                      </a:cubicBezTo>
                      <a:cubicBezTo>
                        <a:pt x="572" y="897"/>
                        <a:pt x="572" y="897"/>
                        <a:pt x="572" y="897"/>
                      </a:cubicBezTo>
                      <a:cubicBezTo>
                        <a:pt x="570" y="896"/>
                        <a:pt x="568" y="894"/>
                        <a:pt x="566" y="892"/>
                      </a:cubicBezTo>
                      <a:cubicBezTo>
                        <a:pt x="565" y="890"/>
                        <a:pt x="565" y="890"/>
                        <a:pt x="565" y="890"/>
                      </a:cubicBezTo>
                      <a:cubicBezTo>
                        <a:pt x="564" y="887"/>
                        <a:pt x="564" y="887"/>
                        <a:pt x="564" y="887"/>
                      </a:cubicBezTo>
                      <a:cubicBezTo>
                        <a:pt x="564" y="885"/>
                        <a:pt x="563" y="884"/>
                        <a:pt x="560" y="883"/>
                      </a:cubicBezTo>
                      <a:cubicBezTo>
                        <a:pt x="553" y="882"/>
                        <a:pt x="553" y="882"/>
                        <a:pt x="553" y="882"/>
                      </a:cubicBezTo>
                      <a:cubicBezTo>
                        <a:pt x="550" y="881"/>
                        <a:pt x="550" y="881"/>
                        <a:pt x="550" y="881"/>
                      </a:cubicBezTo>
                      <a:cubicBezTo>
                        <a:pt x="547" y="880"/>
                        <a:pt x="544" y="880"/>
                        <a:pt x="542" y="879"/>
                      </a:cubicBezTo>
                      <a:cubicBezTo>
                        <a:pt x="543" y="876"/>
                        <a:pt x="543" y="876"/>
                        <a:pt x="543" y="876"/>
                      </a:cubicBezTo>
                      <a:cubicBezTo>
                        <a:pt x="544" y="874"/>
                        <a:pt x="544" y="874"/>
                        <a:pt x="544" y="874"/>
                      </a:cubicBezTo>
                      <a:cubicBezTo>
                        <a:pt x="547" y="865"/>
                        <a:pt x="547" y="855"/>
                        <a:pt x="549" y="845"/>
                      </a:cubicBezTo>
                      <a:cubicBezTo>
                        <a:pt x="550" y="838"/>
                        <a:pt x="550" y="838"/>
                        <a:pt x="550" y="838"/>
                      </a:cubicBezTo>
                      <a:cubicBezTo>
                        <a:pt x="554" y="832"/>
                        <a:pt x="554" y="832"/>
                        <a:pt x="554" y="832"/>
                      </a:cubicBezTo>
                      <a:cubicBezTo>
                        <a:pt x="561" y="823"/>
                        <a:pt x="564" y="817"/>
                        <a:pt x="569" y="806"/>
                      </a:cubicBezTo>
                      <a:cubicBezTo>
                        <a:pt x="571" y="801"/>
                        <a:pt x="568" y="794"/>
                        <a:pt x="568" y="789"/>
                      </a:cubicBezTo>
                      <a:cubicBezTo>
                        <a:pt x="568" y="788"/>
                        <a:pt x="568" y="788"/>
                        <a:pt x="568" y="788"/>
                      </a:cubicBezTo>
                      <a:cubicBezTo>
                        <a:pt x="570" y="785"/>
                        <a:pt x="570" y="785"/>
                        <a:pt x="570" y="785"/>
                      </a:cubicBezTo>
                      <a:cubicBezTo>
                        <a:pt x="570" y="785"/>
                        <a:pt x="570" y="785"/>
                        <a:pt x="570" y="785"/>
                      </a:cubicBezTo>
                      <a:cubicBezTo>
                        <a:pt x="578" y="771"/>
                        <a:pt x="596" y="781"/>
                        <a:pt x="613" y="789"/>
                      </a:cubicBezTo>
                      <a:cubicBezTo>
                        <a:pt x="623" y="792"/>
                        <a:pt x="623" y="792"/>
                        <a:pt x="623" y="792"/>
                      </a:cubicBezTo>
                      <a:cubicBezTo>
                        <a:pt x="629" y="796"/>
                        <a:pt x="629" y="796"/>
                        <a:pt x="629" y="796"/>
                      </a:cubicBezTo>
                      <a:cubicBezTo>
                        <a:pt x="637" y="798"/>
                        <a:pt x="645" y="799"/>
                        <a:pt x="651" y="794"/>
                      </a:cubicBezTo>
                      <a:cubicBezTo>
                        <a:pt x="654" y="788"/>
                        <a:pt x="654" y="788"/>
                        <a:pt x="654" y="788"/>
                      </a:cubicBezTo>
                      <a:cubicBezTo>
                        <a:pt x="658" y="784"/>
                        <a:pt x="658" y="784"/>
                        <a:pt x="658" y="784"/>
                      </a:cubicBezTo>
                      <a:cubicBezTo>
                        <a:pt x="658" y="783"/>
                        <a:pt x="659" y="783"/>
                        <a:pt x="659" y="782"/>
                      </a:cubicBezTo>
                      <a:cubicBezTo>
                        <a:pt x="659" y="776"/>
                        <a:pt x="659" y="776"/>
                        <a:pt x="659" y="776"/>
                      </a:cubicBezTo>
                      <a:cubicBezTo>
                        <a:pt x="662" y="772"/>
                        <a:pt x="662" y="772"/>
                        <a:pt x="662" y="772"/>
                      </a:cubicBezTo>
                      <a:cubicBezTo>
                        <a:pt x="665" y="777"/>
                        <a:pt x="665" y="777"/>
                        <a:pt x="665" y="777"/>
                      </a:cubicBezTo>
                      <a:cubicBezTo>
                        <a:pt x="664" y="774"/>
                        <a:pt x="664" y="771"/>
                        <a:pt x="663" y="768"/>
                      </a:cubicBezTo>
                      <a:cubicBezTo>
                        <a:pt x="662" y="765"/>
                        <a:pt x="662" y="765"/>
                        <a:pt x="662" y="765"/>
                      </a:cubicBezTo>
                      <a:cubicBezTo>
                        <a:pt x="663" y="758"/>
                        <a:pt x="663" y="758"/>
                        <a:pt x="663" y="758"/>
                      </a:cubicBezTo>
                      <a:cubicBezTo>
                        <a:pt x="662" y="749"/>
                        <a:pt x="661" y="741"/>
                        <a:pt x="656" y="732"/>
                      </a:cubicBezTo>
                      <a:cubicBezTo>
                        <a:pt x="650" y="729"/>
                        <a:pt x="650" y="729"/>
                        <a:pt x="650" y="729"/>
                      </a:cubicBezTo>
                      <a:cubicBezTo>
                        <a:pt x="645" y="724"/>
                        <a:pt x="645" y="724"/>
                        <a:pt x="645" y="724"/>
                      </a:cubicBezTo>
                      <a:cubicBezTo>
                        <a:pt x="646" y="724"/>
                        <a:pt x="646" y="724"/>
                        <a:pt x="646" y="724"/>
                      </a:cubicBezTo>
                      <a:cubicBezTo>
                        <a:pt x="645" y="722"/>
                        <a:pt x="645" y="720"/>
                        <a:pt x="647" y="718"/>
                      </a:cubicBezTo>
                      <a:cubicBezTo>
                        <a:pt x="649" y="716"/>
                        <a:pt x="654" y="717"/>
                        <a:pt x="658" y="719"/>
                      </a:cubicBezTo>
                      <a:cubicBezTo>
                        <a:pt x="660" y="719"/>
                        <a:pt x="660" y="719"/>
                        <a:pt x="660" y="719"/>
                      </a:cubicBezTo>
                      <a:cubicBezTo>
                        <a:pt x="667" y="724"/>
                        <a:pt x="667" y="724"/>
                        <a:pt x="667" y="724"/>
                      </a:cubicBezTo>
                      <a:cubicBezTo>
                        <a:pt x="668" y="720"/>
                        <a:pt x="669" y="718"/>
                        <a:pt x="670" y="715"/>
                      </a:cubicBezTo>
                      <a:cubicBezTo>
                        <a:pt x="669" y="713"/>
                        <a:pt x="669" y="713"/>
                        <a:pt x="669" y="713"/>
                      </a:cubicBezTo>
                      <a:cubicBezTo>
                        <a:pt x="669" y="709"/>
                        <a:pt x="669" y="709"/>
                        <a:pt x="669" y="709"/>
                      </a:cubicBezTo>
                      <a:cubicBezTo>
                        <a:pt x="675" y="711"/>
                        <a:pt x="675" y="711"/>
                        <a:pt x="675" y="711"/>
                      </a:cubicBezTo>
                      <a:cubicBezTo>
                        <a:pt x="676" y="714"/>
                        <a:pt x="676" y="714"/>
                        <a:pt x="676" y="714"/>
                      </a:cubicBezTo>
                      <a:cubicBezTo>
                        <a:pt x="677" y="715"/>
                        <a:pt x="677" y="715"/>
                        <a:pt x="677" y="715"/>
                      </a:cubicBezTo>
                      <a:cubicBezTo>
                        <a:pt x="679" y="716"/>
                        <a:pt x="680" y="717"/>
                        <a:pt x="682" y="718"/>
                      </a:cubicBezTo>
                      <a:cubicBezTo>
                        <a:pt x="684" y="718"/>
                        <a:pt x="684" y="718"/>
                        <a:pt x="684" y="718"/>
                      </a:cubicBezTo>
                      <a:cubicBezTo>
                        <a:pt x="687" y="720"/>
                        <a:pt x="687" y="720"/>
                        <a:pt x="687" y="720"/>
                      </a:cubicBezTo>
                      <a:cubicBezTo>
                        <a:pt x="689" y="721"/>
                        <a:pt x="692" y="721"/>
                        <a:pt x="694" y="721"/>
                      </a:cubicBezTo>
                      <a:cubicBezTo>
                        <a:pt x="700" y="720"/>
                        <a:pt x="700" y="720"/>
                        <a:pt x="700" y="720"/>
                      </a:cubicBezTo>
                      <a:cubicBezTo>
                        <a:pt x="699" y="718"/>
                        <a:pt x="699" y="718"/>
                        <a:pt x="699" y="718"/>
                      </a:cubicBezTo>
                      <a:cubicBezTo>
                        <a:pt x="701" y="716"/>
                        <a:pt x="701" y="716"/>
                        <a:pt x="701" y="716"/>
                      </a:cubicBezTo>
                      <a:cubicBezTo>
                        <a:pt x="703" y="715"/>
                        <a:pt x="703" y="715"/>
                        <a:pt x="703" y="715"/>
                      </a:cubicBezTo>
                      <a:cubicBezTo>
                        <a:pt x="706" y="714"/>
                        <a:pt x="710" y="712"/>
                        <a:pt x="713" y="711"/>
                      </a:cubicBezTo>
                      <a:cubicBezTo>
                        <a:pt x="717" y="709"/>
                        <a:pt x="717" y="709"/>
                        <a:pt x="717" y="709"/>
                      </a:cubicBezTo>
                      <a:cubicBezTo>
                        <a:pt x="725" y="708"/>
                        <a:pt x="725" y="708"/>
                        <a:pt x="725" y="708"/>
                      </a:cubicBezTo>
                      <a:cubicBezTo>
                        <a:pt x="735" y="702"/>
                        <a:pt x="736" y="700"/>
                        <a:pt x="742" y="691"/>
                      </a:cubicBezTo>
                      <a:cubicBezTo>
                        <a:pt x="742" y="691"/>
                        <a:pt x="742" y="691"/>
                        <a:pt x="742" y="691"/>
                      </a:cubicBezTo>
                      <a:cubicBezTo>
                        <a:pt x="745" y="685"/>
                        <a:pt x="745" y="685"/>
                        <a:pt x="745" y="685"/>
                      </a:cubicBezTo>
                      <a:cubicBezTo>
                        <a:pt x="746" y="685"/>
                        <a:pt x="746" y="685"/>
                        <a:pt x="746" y="685"/>
                      </a:cubicBezTo>
                      <a:cubicBezTo>
                        <a:pt x="748" y="683"/>
                        <a:pt x="751" y="682"/>
                        <a:pt x="755" y="681"/>
                      </a:cubicBezTo>
                      <a:cubicBezTo>
                        <a:pt x="757" y="679"/>
                        <a:pt x="757" y="679"/>
                        <a:pt x="757" y="679"/>
                      </a:cubicBezTo>
                      <a:cubicBezTo>
                        <a:pt x="759" y="679"/>
                        <a:pt x="759" y="679"/>
                        <a:pt x="759" y="679"/>
                      </a:cubicBezTo>
                      <a:cubicBezTo>
                        <a:pt x="767" y="677"/>
                        <a:pt x="776" y="676"/>
                        <a:pt x="783" y="675"/>
                      </a:cubicBezTo>
                      <a:cubicBezTo>
                        <a:pt x="785" y="674"/>
                        <a:pt x="785" y="674"/>
                        <a:pt x="785" y="674"/>
                      </a:cubicBezTo>
                      <a:cubicBezTo>
                        <a:pt x="791" y="675"/>
                        <a:pt x="791" y="675"/>
                        <a:pt x="791" y="675"/>
                      </a:cubicBezTo>
                      <a:cubicBezTo>
                        <a:pt x="790" y="674"/>
                        <a:pt x="789" y="672"/>
                        <a:pt x="788" y="670"/>
                      </a:cubicBezTo>
                      <a:cubicBezTo>
                        <a:pt x="785" y="669"/>
                        <a:pt x="785" y="669"/>
                        <a:pt x="785" y="669"/>
                      </a:cubicBezTo>
                      <a:cubicBezTo>
                        <a:pt x="783" y="661"/>
                        <a:pt x="783" y="661"/>
                        <a:pt x="783" y="661"/>
                      </a:cubicBezTo>
                      <a:cubicBezTo>
                        <a:pt x="784" y="659"/>
                        <a:pt x="784" y="659"/>
                        <a:pt x="784" y="659"/>
                      </a:cubicBezTo>
                      <a:cubicBezTo>
                        <a:pt x="783" y="654"/>
                        <a:pt x="782" y="647"/>
                        <a:pt x="782" y="642"/>
                      </a:cubicBezTo>
                      <a:cubicBezTo>
                        <a:pt x="782" y="640"/>
                        <a:pt x="782" y="640"/>
                        <a:pt x="782" y="640"/>
                      </a:cubicBezTo>
                      <a:cubicBezTo>
                        <a:pt x="783" y="639"/>
                        <a:pt x="783" y="639"/>
                        <a:pt x="783" y="639"/>
                      </a:cubicBezTo>
                      <a:cubicBezTo>
                        <a:pt x="784" y="636"/>
                        <a:pt x="785" y="633"/>
                        <a:pt x="787" y="631"/>
                      </a:cubicBezTo>
                      <a:cubicBezTo>
                        <a:pt x="787" y="630"/>
                        <a:pt x="787" y="630"/>
                        <a:pt x="787" y="630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0" y="629"/>
                        <a:pt x="790" y="629"/>
                        <a:pt x="790" y="629"/>
                      </a:cubicBezTo>
                      <a:cubicBezTo>
                        <a:pt x="797" y="626"/>
                        <a:pt x="797" y="626"/>
                        <a:pt x="797" y="626"/>
                      </a:cubicBezTo>
                      <a:cubicBezTo>
                        <a:pt x="800" y="627"/>
                        <a:pt x="800" y="627"/>
                        <a:pt x="800" y="627"/>
                      </a:cubicBezTo>
                      <a:cubicBezTo>
                        <a:pt x="800" y="627"/>
                        <a:pt x="800" y="627"/>
                        <a:pt x="800" y="627"/>
                      </a:cubicBezTo>
                      <a:cubicBezTo>
                        <a:pt x="802" y="628"/>
                        <a:pt x="803" y="629"/>
                        <a:pt x="803" y="630"/>
                      </a:cubicBezTo>
                      <a:cubicBezTo>
                        <a:pt x="804" y="630"/>
                        <a:pt x="804" y="630"/>
                        <a:pt x="804" y="630"/>
                      </a:cubicBezTo>
                      <a:cubicBezTo>
                        <a:pt x="806" y="633"/>
                        <a:pt x="806" y="633"/>
                        <a:pt x="806" y="633"/>
                      </a:cubicBezTo>
                      <a:cubicBezTo>
                        <a:pt x="805" y="639"/>
                        <a:pt x="805" y="639"/>
                        <a:pt x="805" y="639"/>
                      </a:cubicBezTo>
                      <a:cubicBezTo>
                        <a:pt x="800" y="644"/>
                        <a:pt x="800" y="644"/>
                        <a:pt x="800" y="644"/>
                      </a:cubicBezTo>
                      <a:cubicBezTo>
                        <a:pt x="799" y="647"/>
                        <a:pt x="797" y="651"/>
                        <a:pt x="796" y="654"/>
                      </a:cubicBezTo>
                      <a:cubicBezTo>
                        <a:pt x="796" y="658"/>
                        <a:pt x="796" y="658"/>
                        <a:pt x="796" y="658"/>
                      </a:cubicBezTo>
                      <a:cubicBezTo>
                        <a:pt x="794" y="660"/>
                        <a:pt x="794" y="660"/>
                        <a:pt x="794" y="660"/>
                      </a:cubicBezTo>
                      <a:cubicBezTo>
                        <a:pt x="802" y="664"/>
                        <a:pt x="808" y="666"/>
                        <a:pt x="814" y="666"/>
                      </a:cubicBezTo>
                      <a:cubicBezTo>
                        <a:pt x="821" y="664"/>
                        <a:pt x="821" y="664"/>
                        <a:pt x="821" y="664"/>
                      </a:cubicBezTo>
                      <a:cubicBezTo>
                        <a:pt x="825" y="665"/>
                        <a:pt x="825" y="665"/>
                        <a:pt x="825" y="665"/>
                      </a:cubicBezTo>
                      <a:cubicBezTo>
                        <a:pt x="826" y="665"/>
                        <a:pt x="827" y="665"/>
                        <a:pt x="829" y="664"/>
                      </a:cubicBezTo>
                      <a:cubicBezTo>
                        <a:pt x="830" y="663"/>
                        <a:pt x="830" y="663"/>
                        <a:pt x="830" y="663"/>
                      </a:cubicBezTo>
                      <a:cubicBezTo>
                        <a:pt x="834" y="663"/>
                        <a:pt x="834" y="663"/>
                        <a:pt x="834" y="663"/>
                      </a:cubicBezTo>
                      <a:cubicBezTo>
                        <a:pt x="834" y="670"/>
                        <a:pt x="837" y="668"/>
                        <a:pt x="840" y="673"/>
                      </a:cubicBezTo>
                      <a:cubicBezTo>
                        <a:pt x="844" y="669"/>
                        <a:pt x="844" y="669"/>
                        <a:pt x="844" y="669"/>
                      </a:cubicBezTo>
                      <a:cubicBezTo>
                        <a:pt x="850" y="667"/>
                        <a:pt x="850" y="667"/>
                        <a:pt x="850" y="667"/>
                      </a:cubicBezTo>
                      <a:cubicBezTo>
                        <a:pt x="856" y="665"/>
                        <a:pt x="863" y="665"/>
                        <a:pt x="869" y="661"/>
                      </a:cubicBezTo>
                      <a:cubicBezTo>
                        <a:pt x="871" y="665"/>
                        <a:pt x="871" y="665"/>
                        <a:pt x="871" y="665"/>
                      </a:cubicBezTo>
                      <a:cubicBezTo>
                        <a:pt x="872" y="667"/>
                        <a:pt x="872" y="667"/>
                        <a:pt x="872" y="667"/>
                      </a:cubicBezTo>
                      <a:cubicBezTo>
                        <a:pt x="873" y="668"/>
                        <a:pt x="874" y="669"/>
                        <a:pt x="874" y="671"/>
                      </a:cubicBezTo>
                      <a:cubicBezTo>
                        <a:pt x="883" y="665"/>
                        <a:pt x="883" y="665"/>
                        <a:pt x="883" y="665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3" y="663"/>
                        <a:pt x="883" y="663"/>
                        <a:pt x="883" y="663"/>
                      </a:cubicBezTo>
                      <a:cubicBezTo>
                        <a:pt x="884" y="661"/>
                        <a:pt x="884" y="661"/>
                        <a:pt x="884" y="661"/>
                      </a:cubicBezTo>
                      <a:cubicBezTo>
                        <a:pt x="889" y="658"/>
                        <a:pt x="889" y="658"/>
                        <a:pt x="889" y="658"/>
                      </a:cubicBezTo>
                      <a:cubicBezTo>
                        <a:pt x="891" y="658"/>
                        <a:pt x="891" y="658"/>
                        <a:pt x="891" y="658"/>
                      </a:cubicBezTo>
                      <a:cubicBezTo>
                        <a:pt x="894" y="654"/>
                        <a:pt x="897" y="650"/>
                        <a:pt x="898" y="645"/>
                      </a:cubicBezTo>
                      <a:cubicBezTo>
                        <a:pt x="900" y="639"/>
                        <a:pt x="900" y="639"/>
                        <a:pt x="900" y="639"/>
                      </a:cubicBezTo>
                      <a:cubicBezTo>
                        <a:pt x="898" y="635"/>
                        <a:pt x="898" y="635"/>
                        <a:pt x="898" y="635"/>
                      </a:cubicBezTo>
                      <a:cubicBezTo>
                        <a:pt x="898" y="628"/>
                        <a:pt x="898" y="628"/>
                        <a:pt x="898" y="628"/>
                      </a:cubicBezTo>
                      <a:cubicBezTo>
                        <a:pt x="899" y="626"/>
                        <a:pt x="899" y="626"/>
                        <a:pt x="899" y="626"/>
                      </a:cubicBezTo>
                      <a:cubicBezTo>
                        <a:pt x="899" y="625"/>
                        <a:pt x="899" y="624"/>
                        <a:pt x="899" y="623"/>
                      </a:cubicBezTo>
                      <a:cubicBezTo>
                        <a:pt x="900" y="621"/>
                        <a:pt x="900" y="621"/>
                        <a:pt x="900" y="621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03" y="619"/>
                        <a:pt x="903" y="619"/>
                        <a:pt x="903" y="619"/>
                      </a:cubicBezTo>
                      <a:cubicBezTo>
                        <a:pt x="910" y="613"/>
                        <a:pt x="910" y="613"/>
                        <a:pt x="910" y="613"/>
                      </a:cubicBezTo>
                      <a:cubicBezTo>
                        <a:pt x="913" y="613"/>
                        <a:pt x="913" y="613"/>
                        <a:pt x="913" y="613"/>
                      </a:cubicBezTo>
                      <a:cubicBezTo>
                        <a:pt x="914" y="614"/>
                        <a:pt x="914" y="614"/>
                        <a:pt x="914" y="614"/>
                      </a:cubicBezTo>
                      <a:cubicBezTo>
                        <a:pt x="916" y="614"/>
                        <a:pt x="919" y="617"/>
                        <a:pt x="921" y="622"/>
                      </a:cubicBezTo>
                      <a:cubicBezTo>
                        <a:pt x="923" y="617"/>
                        <a:pt x="923" y="617"/>
                        <a:pt x="923" y="617"/>
                      </a:cubicBezTo>
                      <a:cubicBezTo>
                        <a:pt x="924" y="615"/>
                        <a:pt x="924" y="615"/>
                        <a:pt x="924" y="615"/>
                      </a:cubicBezTo>
                      <a:cubicBezTo>
                        <a:pt x="925" y="610"/>
                        <a:pt x="923" y="606"/>
                        <a:pt x="922" y="603"/>
                      </a:cubicBezTo>
                      <a:cubicBezTo>
                        <a:pt x="919" y="600"/>
                        <a:pt x="919" y="600"/>
                        <a:pt x="919" y="600"/>
                      </a:cubicBezTo>
                      <a:cubicBezTo>
                        <a:pt x="921" y="595"/>
                        <a:pt x="921" y="595"/>
                        <a:pt x="921" y="595"/>
                      </a:cubicBezTo>
                      <a:cubicBezTo>
                        <a:pt x="923" y="592"/>
                        <a:pt x="923" y="592"/>
                        <a:pt x="923" y="592"/>
                      </a:cubicBezTo>
                      <a:cubicBezTo>
                        <a:pt x="924" y="592"/>
                        <a:pt x="925" y="591"/>
                        <a:pt x="927" y="590"/>
                      </a:cubicBezTo>
                      <a:cubicBezTo>
                        <a:pt x="927" y="590"/>
                        <a:pt x="927" y="590"/>
                        <a:pt x="927" y="590"/>
                      </a:cubicBezTo>
                      <a:cubicBezTo>
                        <a:pt x="928" y="589"/>
                        <a:pt x="928" y="589"/>
                        <a:pt x="928" y="589"/>
                      </a:cubicBezTo>
                      <a:cubicBezTo>
                        <a:pt x="934" y="587"/>
                        <a:pt x="944" y="584"/>
                        <a:pt x="953" y="582"/>
                      </a:cubicBezTo>
                      <a:cubicBezTo>
                        <a:pt x="956" y="581"/>
                        <a:pt x="956" y="581"/>
                        <a:pt x="956" y="581"/>
                      </a:cubicBezTo>
                      <a:cubicBezTo>
                        <a:pt x="964" y="581"/>
                        <a:pt x="964" y="581"/>
                        <a:pt x="964" y="581"/>
                      </a:cubicBezTo>
                      <a:cubicBezTo>
                        <a:pt x="966" y="580"/>
                        <a:pt x="967" y="580"/>
                        <a:pt x="968" y="580"/>
                      </a:cubicBezTo>
                      <a:cubicBezTo>
                        <a:pt x="967" y="578"/>
                        <a:pt x="966" y="576"/>
                        <a:pt x="965" y="575"/>
                      </a:cubicBezTo>
                      <a:cubicBezTo>
                        <a:pt x="963" y="573"/>
                        <a:pt x="963" y="573"/>
                        <a:pt x="963" y="573"/>
                      </a:cubicBezTo>
                      <a:cubicBezTo>
                        <a:pt x="959" y="571"/>
                        <a:pt x="959" y="571"/>
                        <a:pt x="959" y="571"/>
                      </a:cubicBezTo>
                      <a:cubicBezTo>
                        <a:pt x="957" y="570"/>
                        <a:pt x="957" y="570"/>
                        <a:pt x="957" y="570"/>
                      </a:cubicBezTo>
                      <a:cubicBezTo>
                        <a:pt x="953" y="569"/>
                        <a:pt x="947" y="569"/>
                        <a:pt x="941" y="571"/>
                      </a:cubicBezTo>
                      <a:cubicBezTo>
                        <a:pt x="938" y="575"/>
                        <a:pt x="938" y="575"/>
                        <a:pt x="938" y="575"/>
                      </a:cubicBezTo>
                      <a:cubicBezTo>
                        <a:pt x="930" y="579"/>
                        <a:pt x="930" y="579"/>
                        <a:pt x="930" y="579"/>
                      </a:cubicBezTo>
                      <a:cubicBezTo>
                        <a:pt x="921" y="580"/>
                        <a:pt x="921" y="580"/>
                        <a:pt x="921" y="580"/>
                      </a:cubicBezTo>
                      <a:cubicBezTo>
                        <a:pt x="919" y="579"/>
                        <a:pt x="919" y="579"/>
                        <a:pt x="919" y="579"/>
                      </a:cubicBezTo>
                      <a:cubicBezTo>
                        <a:pt x="916" y="579"/>
                        <a:pt x="914" y="579"/>
                        <a:pt x="910" y="578"/>
                      </a:cubicBezTo>
                      <a:cubicBezTo>
                        <a:pt x="910" y="578"/>
                        <a:pt x="910" y="578"/>
                        <a:pt x="910" y="578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6" y="577"/>
                        <a:pt x="906" y="577"/>
                        <a:pt x="906" y="577"/>
                      </a:cubicBezTo>
                      <a:cubicBezTo>
                        <a:pt x="903" y="576"/>
                        <a:pt x="903" y="576"/>
                        <a:pt x="903" y="576"/>
                      </a:cubicBezTo>
                      <a:cubicBezTo>
                        <a:pt x="904" y="572"/>
                        <a:pt x="904" y="572"/>
                        <a:pt x="904" y="572"/>
                      </a:cubicBezTo>
                      <a:cubicBezTo>
                        <a:pt x="903" y="567"/>
                        <a:pt x="902" y="559"/>
                        <a:pt x="901" y="553"/>
                      </a:cubicBezTo>
                      <a:cubicBezTo>
                        <a:pt x="900" y="550"/>
                        <a:pt x="900" y="550"/>
                        <a:pt x="900" y="550"/>
                      </a:cubicBezTo>
                      <a:cubicBezTo>
                        <a:pt x="900" y="546"/>
                        <a:pt x="900" y="546"/>
                        <a:pt x="900" y="546"/>
                      </a:cubicBezTo>
                      <a:cubicBezTo>
                        <a:pt x="905" y="535"/>
                        <a:pt x="905" y="535"/>
                        <a:pt x="905" y="535"/>
                      </a:cubicBezTo>
                      <a:cubicBezTo>
                        <a:pt x="908" y="532"/>
                        <a:pt x="908" y="532"/>
                        <a:pt x="908" y="532"/>
                      </a:cubicBezTo>
                      <a:cubicBezTo>
                        <a:pt x="912" y="528"/>
                        <a:pt x="915" y="525"/>
                        <a:pt x="918" y="520"/>
                      </a:cubicBezTo>
                      <a:cubicBezTo>
                        <a:pt x="920" y="515"/>
                        <a:pt x="920" y="515"/>
                        <a:pt x="920" y="515"/>
                      </a:cubicBezTo>
                      <a:cubicBezTo>
                        <a:pt x="923" y="512"/>
                        <a:pt x="923" y="512"/>
                        <a:pt x="923" y="512"/>
                      </a:cubicBezTo>
                      <a:cubicBezTo>
                        <a:pt x="923" y="510"/>
                        <a:pt x="924" y="509"/>
                        <a:pt x="924" y="507"/>
                      </a:cubicBezTo>
                      <a:cubicBezTo>
                        <a:pt x="924" y="505"/>
                        <a:pt x="924" y="504"/>
                        <a:pt x="924" y="502"/>
                      </a:cubicBezTo>
                      <a:cubicBezTo>
                        <a:pt x="917" y="495"/>
                        <a:pt x="917" y="495"/>
                        <a:pt x="917" y="495"/>
                      </a:cubicBezTo>
                      <a:cubicBezTo>
                        <a:pt x="915" y="494"/>
                        <a:pt x="915" y="494"/>
                        <a:pt x="915" y="494"/>
                      </a:cubicBezTo>
                      <a:cubicBezTo>
                        <a:pt x="913" y="493"/>
                        <a:pt x="910" y="492"/>
                        <a:pt x="907" y="493"/>
                      </a:cubicBezTo>
                      <a:cubicBezTo>
                        <a:pt x="903" y="494"/>
                        <a:pt x="903" y="494"/>
                        <a:pt x="903" y="494"/>
                      </a:cubicBezTo>
                      <a:cubicBezTo>
                        <a:pt x="898" y="498"/>
                        <a:pt x="898" y="498"/>
                        <a:pt x="898" y="498"/>
                      </a:cubicBezTo>
                      <a:cubicBezTo>
                        <a:pt x="897" y="499"/>
                        <a:pt x="896" y="501"/>
                        <a:pt x="895" y="503"/>
                      </a:cubicBezTo>
                      <a:cubicBezTo>
                        <a:pt x="895" y="503"/>
                        <a:pt x="895" y="503"/>
                        <a:pt x="895" y="503"/>
                      </a:cubicBezTo>
                      <a:cubicBezTo>
                        <a:pt x="895" y="507"/>
                        <a:pt x="895" y="507"/>
                        <a:pt x="895" y="507"/>
                      </a:cubicBezTo>
                      <a:cubicBezTo>
                        <a:pt x="895" y="509"/>
                        <a:pt x="895" y="509"/>
                        <a:pt x="895" y="509"/>
                      </a:cubicBezTo>
                      <a:cubicBezTo>
                        <a:pt x="895" y="514"/>
                        <a:pt x="895" y="514"/>
                        <a:pt x="895" y="514"/>
                      </a:cubicBezTo>
                      <a:cubicBezTo>
                        <a:pt x="888" y="526"/>
                        <a:pt x="888" y="526"/>
                        <a:pt x="888" y="526"/>
                      </a:cubicBezTo>
                      <a:cubicBezTo>
                        <a:pt x="884" y="526"/>
                        <a:pt x="884" y="526"/>
                        <a:pt x="884" y="526"/>
                      </a:cubicBezTo>
                      <a:cubicBezTo>
                        <a:pt x="883" y="527"/>
                        <a:pt x="883" y="528"/>
                        <a:pt x="882" y="529"/>
                      </a:cubicBezTo>
                      <a:cubicBezTo>
                        <a:pt x="879" y="533"/>
                        <a:pt x="877" y="536"/>
                        <a:pt x="875" y="539"/>
                      </a:cubicBezTo>
                      <a:cubicBezTo>
                        <a:pt x="874" y="545"/>
                        <a:pt x="874" y="545"/>
                        <a:pt x="874" y="545"/>
                      </a:cubicBezTo>
                      <a:cubicBezTo>
                        <a:pt x="872" y="546"/>
                        <a:pt x="872" y="546"/>
                        <a:pt x="872" y="546"/>
                      </a:cubicBezTo>
                      <a:cubicBezTo>
                        <a:pt x="870" y="551"/>
                        <a:pt x="870" y="558"/>
                        <a:pt x="869" y="566"/>
                      </a:cubicBezTo>
                      <a:cubicBezTo>
                        <a:pt x="869" y="566"/>
                        <a:pt x="869" y="566"/>
                        <a:pt x="869" y="566"/>
                      </a:cubicBezTo>
                      <a:cubicBezTo>
                        <a:pt x="869" y="567"/>
                        <a:pt x="869" y="568"/>
                        <a:pt x="870" y="569"/>
                      </a:cubicBezTo>
                      <a:cubicBezTo>
                        <a:pt x="873" y="571"/>
                        <a:pt x="873" y="571"/>
                        <a:pt x="873" y="571"/>
                      </a:cubicBezTo>
                      <a:cubicBezTo>
                        <a:pt x="875" y="579"/>
                        <a:pt x="875" y="579"/>
                        <a:pt x="875" y="579"/>
                      </a:cubicBezTo>
                      <a:cubicBezTo>
                        <a:pt x="872" y="587"/>
                        <a:pt x="872" y="587"/>
                        <a:pt x="872" y="587"/>
                      </a:cubicBezTo>
                      <a:cubicBezTo>
                        <a:pt x="871" y="587"/>
                        <a:pt x="871" y="587"/>
                        <a:pt x="871" y="587"/>
                      </a:cubicBezTo>
                      <a:cubicBezTo>
                        <a:pt x="869" y="588"/>
                        <a:pt x="867" y="589"/>
                        <a:pt x="863" y="589"/>
                      </a:cubicBezTo>
                      <a:cubicBezTo>
                        <a:pt x="867" y="589"/>
                        <a:pt x="867" y="589"/>
                        <a:pt x="867" y="589"/>
                      </a:cubicBezTo>
                      <a:cubicBezTo>
                        <a:pt x="870" y="591"/>
                        <a:pt x="870" y="591"/>
                        <a:pt x="870" y="591"/>
                      </a:cubicBezTo>
                      <a:cubicBezTo>
                        <a:pt x="869" y="593"/>
                        <a:pt x="869" y="593"/>
                        <a:pt x="869" y="593"/>
                      </a:cubicBezTo>
                      <a:cubicBezTo>
                        <a:pt x="869" y="594"/>
                        <a:pt x="869" y="595"/>
                        <a:pt x="867" y="596"/>
                      </a:cubicBezTo>
                      <a:cubicBezTo>
                        <a:pt x="866" y="597"/>
                        <a:pt x="866" y="597"/>
                        <a:pt x="866" y="597"/>
                      </a:cubicBezTo>
                      <a:cubicBezTo>
                        <a:pt x="863" y="598"/>
                        <a:pt x="863" y="598"/>
                        <a:pt x="863" y="598"/>
                      </a:cubicBezTo>
                      <a:cubicBezTo>
                        <a:pt x="861" y="598"/>
                        <a:pt x="860" y="599"/>
                        <a:pt x="859" y="600"/>
                      </a:cubicBezTo>
                      <a:cubicBezTo>
                        <a:pt x="859" y="601"/>
                        <a:pt x="859" y="601"/>
                        <a:pt x="859" y="601"/>
                      </a:cubicBezTo>
                      <a:cubicBezTo>
                        <a:pt x="859" y="602"/>
                        <a:pt x="859" y="603"/>
                        <a:pt x="860" y="604"/>
                      </a:cubicBezTo>
                      <a:cubicBezTo>
                        <a:pt x="861" y="605"/>
                        <a:pt x="861" y="605"/>
                        <a:pt x="861" y="605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1" y="609"/>
                        <a:pt x="861" y="609"/>
                        <a:pt x="861" y="609"/>
                      </a:cubicBezTo>
                      <a:cubicBezTo>
                        <a:pt x="862" y="614"/>
                        <a:pt x="862" y="614"/>
                        <a:pt x="862" y="614"/>
                      </a:cubicBezTo>
                      <a:cubicBezTo>
                        <a:pt x="860" y="616"/>
                        <a:pt x="860" y="616"/>
                        <a:pt x="860" y="616"/>
                      </a:cubicBezTo>
                      <a:cubicBezTo>
                        <a:pt x="859" y="620"/>
                        <a:pt x="858" y="625"/>
                        <a:pt x="856" y="629"/>
                      </a:cubicBezTo>
                      <a:cubicBezTo>
                        <a:pt x="856" y="632"/>
                        <a:pt x="856" y="632"/>
                        <a:pt x="856" y="632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4" y="633"/>
                        <a:pt x="854" y="633"/>
                        <a:pt x="854" y="633"/>
                      </a:cubicBezTo>
                      <a:cubicBezTo>
                        <a:pt x="851" y="634"/>
                        <a:pt x="851" y="634"/>
                        <a:pt x="851" y="634"/>
                      </a:cubicBezTo>
                      <a:cubicBezTo>
                        <a:pt x="849" y="633"/>
                        <a:pt x="849" y="633"/>
                        <a:pt x="849" y="633"/>
                      </a:cubicBezTo>
                      <a:cubicBezTo>
                        <a:pt x="847" y="632"/>
                        <a:pt x="845" y="632"/>
                        <a:pt x="844" y="632"/>
                      </a:cubicBezTo>
                      <a:cubicBezTo>
                        <a:pt x="840" y="633"/>
                        <a:pt x="840" y="633"/>
                        <a:pt x="840" y="633"/>
                      </a:cubicBezTo>
                      <a:cubicBezTo>
                        <a:pt x="840" y="634"/>
                        <a:pt x="839" y="635"/>
                        <a:pt x="840" y="637"/>
                      </a:cubicBezTo>
                      <a:cubicBezTo>
                        <a:pt x="840" y="637"/>
                        <a:pt x="840" y="637"/>
                        <a:pt x="840" y="637"/>
                      </a:cubicBezTo>
                      <a:cubicBezTo>
                        <a:pt x="840" y="640"/>
                        <a:pt x="840" y="640"/>
                        <a:pt x="840" y="640"/>
                      </a:cubicBezTo>
                      <a:cubicBezTo>
                        <a:pt x="839" y="643"/>
                        <a:pt x="839" y="643"/>
                        <a:pt x="839" y="643"/>
                      </a:cubicBezTo>
                      <a:cubicBezTo>
                        <a:pt x="837" y="643"/>
                        <a:pt x="837" y="643"/>
                        <a:pt x="837" y="643"/>
                      </a:cubicBezTo>
                      <a:cubicBezTo>
                        <a:pt x="836" y="644"/>
                        <a:pt x="834" y="644"/>
                        <a:pt x="833" y="644"/>
                      </a:cubicBezTo>
                      <a:cubicBezTo>
                        <a:pt x="831" y="644"/>
                        <a:pt x="831" y="644"/>
                        <a:pt x="831" y="644"/>
                      </a:cubicBezTo>
                      <a:cubicBezTo>
                        <a:pt x="827" y="640"/>
                        <a:pt x="827" y="640"/>
                        <a:pt x="827" y="640"/>
                      </a:cubicBezTo>
                      <a:cubicBezTo>
                        <a:pt x="828" y="638"/>
                        <a:pt x="828" y="638"/>
                        <a:pt x="828" y="638"/>
                      </a:cubicBezTo>
                      <a:cubicBezTo>
                        <a:pt x="828" y="634"/>
                        <a:pt x="827" y="627"/>
                        <a:pt x="827" y="626"/>
                      </a:cubicBezTo>
                      <a:cubicBezTo>
                        <a:pt x="823" y="618"/>
                        <a:pt x="823" y="618"/>
                        <a:pt x="823" y="618"/>
                      </a:cubicBezTo>
                      <a:cubicBezTo>
                        <a:pt x="823" y="609"/>
                        <a:pt x="823" y="609"/>
                        <a:pt x="823" y="609"/>
                      </a:cubicBezTo>
                      <a:cubicBezTo>
                        <a:pt x="823" y="600"/>
                        <a:pt x="823" y="600"/>
                        <a:pt x="823" y="600"/>
                      </a:cubicBezTo>
                      <a:cubicBezTo>
                        <a:pt x="822" y="597"/>
                        <a:pt x="821" y="593"/>
                        <a:pt x="821" y="590"/>
                      </a:cubicBezTo>
                      <a:cubicBezTo>
                        <a:pt x="819" y="588"/>
                        <a:pt x="819" y="588"/>
                        <a:pt x="819" y="588"/>
                      </a:cubicBezTo>
                      <a:cubicBezTo>
                        <a:pt x="819" y="581"/>
                        <a:pt x="819" y="581"/>
                        <a:pt x="819" y="581"/>
                      </a:cubicBezTo>
                      <a:cubicBezTo>
                        <a:pt x="816" y="581"/>
                        <a:pt x="816" y="581"/>
                        <a:pt x="816" y="581"/>
                      </a:cubicBezTo>
                      <a:cubicBezTo>
                        <a:pt x="816" y="582"/>
                        <a:pt x="816" y="582"/>
                        <a:pt x="816" y="583"/>
                      </a:cubicBezTo>
                      <a:cubicBezTo>
                        <a:pt x="816" y="589"/>
                        <a:pt x="816" y="589"/>
                        <a:pt x="816" y="589"/>
                      </a:cubicBezTo>
                      <a:cubicBezTo>
                        <a:pt x="813" y="590"/>
                        <a:pt x="813" y="590"/>
                        <a:pt x="813" y="590"/>
                      </a:cubicBezTo>
                      <a:cubicBezTo>
                        <a:pt x="812" y="589"/>
                        <a:pt x="812" y="589"/>
                        <a:pt x="812" y="589"/>
                      </a:cubicBezTo>
                      <a:cubicBezTo>
                        <a:pt x="808" y="593"/>
                        <a:pt x="801" y="596"/>
                        <a:pt x="798" y="598"/>
                      </a:cubicBezTo>
                      <a:cubicBezTo>
                        <a:pt x="798" y="598"/>
                        <a:pt x="798" y="598"/>
                        <a:pt x="798" y="598"/>
                      </a:cubicBezTo>
                      <a:cubicBezTo>
                        <a:pt x="795" y="600"/>
                        <a:pt x="795" y="600"/>
                        <a:pt x="795" y="600"/>
                      </a:cubicBezTo>
                      <a:cubicBezTo>
                        <a:pt x="789" y="602"/>
                        <a:pt x="789" y="602"/>
                        <a:pt x="789" y="602"/>
                      </a:cubicBezTo>
                      <a:cubicBezTo>
                        <a:pt x="785" y="599"/>
                        <a:pt x="785" y="599"/>
                        <a:pt x="785" y="599"/>
                      </a:cubicBezTo>
                      <a:cubicBezTo>
                        <a:pt x="783" y="598"/>
                        <a:pt x="781" y="598"/>
                        <a:pt x="780" y="596"/>
                      </a:cubicBezTo>
                      <a:cubicBezTo>
                        <a:pt x="779" y="596"/>
                        <a:pt x="779" y="596"/>
                        <a:pt x="779" y="596"/>
                      </a:cubicBezTo>
                      <a:cubicBezTo>
                        <a:pt x="776" y="590"/>
                        <a:pt x="776" y="590"/>
                        <a:pt x="776" y="590"/>
                      </a:cubicBezTo>
                      <a:cubicBezTo>
                        <a:pt x="781" y="587"/>
                        <a:pt x="781" y="587"/>
                        <a:pt x="781" y="587"/>
                      </a:cubicBezTo>
                      <a:cubicBezTo>
                        <a:pt x="778" y="583"/>
                        <a:pt x="778" y="583"/>
                        <a:pt x="778" y="583"/>
                      </a:cubicBezTo>
                      <a:cubicBezTo>
                        <a:pt x="777" y="580"/>
                        <a:pt x="777" y="580"/>
                        <a:pt x="777" y="580"/>
                      </a:cubicBezTo>
                      <a:cubicBezTo>
                        <a:pt x="780" y="578"/>
                        <a:pt x="780" y="578"/>
                        <a:pt x="780" y="578"/>
                      </a:cubicBezTo>
                      <a:cubicBezTo>
                        <a:pt x="781" y="575"/>
                        <a:pt x="782" y="572"/>
                        <a:pt x="778" y="568"/>
                      </a:cubicBezTo>
                      <a:cubicBezTo>
                        <a:pt x="780" y="566"/>
                        <a:pt x="781" y="564"/>
                        <a:pt x="782" y="562"/>
                      </a:cubicBezTo>
                      <a:cubicBezTo>
                        <a:pt x="782" y="561"/>
                        <a:pt x="782" y="561"/>
                        <a:pt x="782" y="561"/>
                      </a:cubicBezTo>
                      <a:cubicBezTo>
                        <a:pt x="783" y="557"/>
                        <a:pt x="783" y="557"/>
                        <a:pt x="783" y="557"/>
                      </a:cubicBezTo>
                      <a:cubicBezTo>
                        <a:pt x="785" y="556"/>
                        <a:pt x="785" y="556"/>
                        <a:pt x="785" y="556"/>
                      </a:cubicBezTo>
                      <a:cubicBezTo>
                        <a:pt x="786" y="555"/>
                        <a:pt x="787" y="554"/>
                        <a:pt x="789" y="553"/>
                      </a:cubicBezTo>
                      <a:cubicBezTo>
                        <a:pt x="784" y="553"/>
                        <a:pt x="784" y="553"/>
                        <a:pt x="784" y="553"/>
                      </a:cubicBezTo>
                      <a:cubicBezTo>
                        <a:pt x="784" y="551"/>
                        <a:pt x="784" y="551"/>
                        <a:pt x="784" y="551"/>
                      </a:cubicBezTo>
                      <a:cubicBezTo>
                        <a:pt x="783" y="550"/>
                        <a:pt x="783" y="549"/>
                        <a:pt x="783" y="548"/>
                      </a:cubicBezTo>
                      <a:cubicBezTo>
                        <a:pt x="783" y="547"/>
                        <a:pt x="783" y="547"/>
                        <a:pt x="783" y="547"/>
                      </a:cubicBezTo>
                      <a:cubicBezTo>
                        <a:pt x="791" y="540"/>
                        <a:pt x="791" y="540"/>
                        <a:pt x="791" y="540"/>
                      </a:cubicBezTo>
                      <a:cubicBezTo>
                        <a:pt x="795" y="540"/>
                        <a:pt x="795" y="540"/>
                        <a:pt x="795" y="540"/>
                      </a:cubicBezTo>
                      <a:cubicBezTo>
                        <a:pt x="802" y="537"/>
                        <a:pt x="802" y="537"/>
                        <a:pt x="802" y="537"/>
                      </a:cubicBezTo>
                      <a:cubicBezTo>
                        <a:pt x="802" y="532"/>
                        <a:pt x="802" y="532"/>
                        <a:pt x="802" y="532"/>
                      </a:cubicBezTo>
                      <a:cubicBezTo>
                        <a:pt x="802" y="532"/>
                        <a:pt x="802" y="532"/>
                        <a:pt x="802" y="532"/>
                      </a:cubicBezTo>
                      <a:cubicBezTo>
                        <a:pt x="802" y="531"/>
                        <a:pt x="802" y="531"/>
                        <a:pt x="802" y="531"/>
                      </a:cubicBezTo>
                      <a:cubicBezTo>
                        <a:pt x="802" y="531"/>
                        <a:pt x="802" y="531"/>
                        <a:pt x="802" y="531"/>
                      </a:cubicBezTo>
                      <a:cubicBezTo>
                        <a:pt x="803" y="531"/>
                        <a:pt x="803" y="530"/>
                        <a:pt x="804" y="530"/>
                      </a:cubicBezTo>
                      <a:cubicBezTo>
                        <a:pt x="807" y="528"/>
                        <a:pt x="807" y="533"/>
                        <a:pt x="812" y="530"/>
                      </a:cubicBezTo>
                      <a:cubicBezTo>
                        <a:pt x="812" y="530"/>
                        <a:pt x="812" y="530"/>
                        <a:pt x="812" y="530"/>
                      </a:cubicBezTo>
                      <a:cubicBezTo>
                        <a:pt x="816" y="527"/>
                        <a:pt x="816" y="527"/>
                        <a:pt x="816" y="527"/>
                      </a:cubicBezTo>
                      <a:cubicBezTo>
                        <a:pt x="817" y="527"/>
                        <a:pt x="817" y="527"/>
                        <a:pt x="817" y="527"/>
                      </a:cubicBezTo>
                      <a:cubicBezTo>
                        <a:pt x="820" y="526"/>
                        <a:pt x="823" y="525"/>
                        <a:pt x="825" y="524"/>
                      </a:cubicBezTo>
                      <a:cubicBezTo>
                        <a:pt x="824" y="522"/>
                        <a:pt x="824" y="522"/>
                        <a:pt x="824" y="522"/>
                      </a:cubicBezTo>
                      <a:cubicBezTo>
                        <a:pt x="820" y="524"/>
                        <a:pt x="820" y="524"/>
                        <a:pt x="820" y="524"/>
                      </a:cubicBezTo>
                      <a:cubicBezTo>
                        <a:pt x="820" y="520"/>
                        <a:pt x="820" y="520"/>
                        <a:pt x="820" y="520"/>
                      </a:cubicBezTo>
                      <a:cubicBezTo>
                        <a:pt x="824" y="518"/>
                        <a:pt x="824" y="518"/>
                        <a:pt x="824" y="518"/>
                      </a:cubicBezTo>
                      <a:cubicBezTo>
                        <a:pt x="829" y="510"/>
                        <a:pt x="840" y="499"/>
                        <a:pt x="847" y="492"/>
                      </a:cubicBezTo>
                      <a:cubicBezTo>
                        <a:pt x="847" y="491"/>
                        <a:pt x="847" y="491"/>
                        <a:pt x="847" y="491"/>
                      </a:cubicBezTo>
                      <a:cubicBezTo>
                        <a:pt x="855" y="485"/>
                        <a:pt x="855" y="485"/>
                        <a:pt x="855" y="485"/>
                      </a:cubicBezTo>
                      <a:cubicBezTo>
                        <a:pt x="856" y="485"/>
                        <a:pt x="857" y="484"/>
                        <a:pt x="858" y="483"/>
                      </a:cubicBezTo>
                      <a:cubicBezTo>
                        <a:pt x="858" y="479"/>
                        <a:pt x="858" y="479"/>
                        <a:pt x="858" y="479"/>
                      </a:cubicBezTo>
                      <a:cubicBezTo>
                        <a:pt x="861" y="474"/>
                        <a:pt x="861" y="474"/>
                        <a:pt x="861" y="474"/>
                      </a:cubicBezTo>
                      <a:cubicBezTo>
                        <a:pt x="866" y="471"/>
                        <a:pt x="866" y="471"/>
                        <a:pt x="866" y="471"/>
                      </a:cubicBezTo>
                      <a:cubicBezTo>
                        <a:pt x="870" y="466"/>
                        <a:pt x="870" y="466"/>
                        <a:pt x="870" y="466"/>
                      </a:cubicBezTo>
                      <a:cubicBezTo>
                        <a:pt x="877" y="456"/>
                        <a:pt x="877" y="456"/>
                        <a:pt x="877" y="456"/>
                      </a:cubicBezTo>
                      <a:cubicBezTo>
                        <a:pt x="879" y="455"/>
                        <a:pt x="879" y="455"/>
                        <a:pt x="879" y="455"/>
                      </a:cubicBezTo>
                      <a:cubicBezTo>
                        <a:pt x="881" y="454"/>
                        <a:pt x="883" y="452"/>
                        <a:pt x="885" y="451"/>
                      </a:cubicBezTo>
                      <a:cubicBezTo>
                        <a:pt x="888" y="455"/>
                        <a:pt x="888" y="455"/>
                        <a:pt x="888" y="455"/>
                      </a:cubicBezTo>
                      <a:cubicBezTo>
                        <a:pt x="890" y="453"/>
                        <a:pt x="891" y="452"/>
                        <a:pt x="893" y="451"/>
                      </a:cubicBezTo>
                      <a:cubicBezTo>
                        <a:pt x="893" y="449"/>
                        <a:pt x="893" y="449"/>
                        <a:pt x="893" y="449"/>
                      </a:cubicBezTo>
                      <a:cubicBezTo>
                        <a:pt x="896" y="447"/>
                        <a:pt x="896" y="447"/>
                        <a:pt x="896" y="447"/>
                      </a:cubicBezTo>
                      <a:cubicBezTo>
                        <a:pt x="900" y="449"/>
                        <a:pt x="900" y="449"/>
                        <a:pt x="900" y="449"/>
                      </a:cubicBezTo>
                      <a:cubicBezTo>
                        <a:pt x="904" y="448"/>
                        <a:pt x="904" y="448"/>
                        <a:pt x="904" y="448"/>
                      </a:cubicBezTo>
                      <a:cubicBezTo>
                        <a:pt x="903" y="445"/>
                        <a:pt x="903" y="445"/>
                        <a:pt x="903" y="445"/>
                      </a:cubicBezTo>
                      <a:cubicBezTo>
                        <a:pt x="904" y="443"/>
                        <a:pt x="904" y="443"/>
                        <a:pt x="904" y="443"/>
                      </a:cubicBezTo>
                      <a:cubicBezTo>
                        <a:pt x="907" y="442"/>
                        <a:pt x="907" y="442"/>
                        <a:pt x="907" y="442"/>
                      </a:cubicBezTo>
                      <a:cubicBezTo>
                        <a:pt x="911" y="435"/>
                        <a:pt x="911" y="435"/>
                        <a:pt x="911" y="435"/>
                      </a:cubicBezTo>
                      <a:cubicBezTo>
                        <a:pt x="914" y="434"/>
                        <a:pt x="914" y="434"/>
                        <a:pt x="914" y="434"/>
                      </a:cubicBezTo>
                      <a:cubicBezTo>
                        <a:pt x="914" y="437"/>
                        <a:pt x="914" y="437"/>
                        <a:pt x="914" y="437"/>
                      </a:cubicBezTo>
                      <a:cubicBezTo>
                        <a:pt x="914" y="441"/>
                        <a:pt x="914" y="441"/>
                        <a:pt x="914" y="441"/>
                      </a:cubicBezTo>
                      <a:cubicBezTo>
                        <a:pt x="917" y="439"/>
                        <a:pt x="919" y="437"/>
                        <a:pt x="921" y="435"/>
                      </a:cubicBezTo>
                      <a:cubicBezTo>
                        <a:pt x="922" y="434"/>
                        <a:pt x="922" y="434"/>
                        <a:pt x="922" y="434"/>
                      </a:cubicBezTo>
                      <a:cubicBezTo>
                        <a:pt x="927" y="429"/>
                        <a:pt x="927" y="429"/>
                        <a:pt x="927" y="429"/>
                      </a:cubicBezTo>
                      <a:cubicBezTo>
                        <a:pt x="932" y="429"/>
                        <a:pt x="932" y="429"/>
                        <a:pt x="932" y="429"/>
                      </a:cubicBezTo>
                      <a:cubicBezTo>
                        <a:pt x="928" y="433"/>
                        <a:pt x="928" y="433"/>
                        <a:pt x="928" y="433"/>
                      </a:cubicBezTo>
                      <a:cubicBezTo>
                        <a:pt x="929" y="433"/>
                        <a:pt x="931" y="433"/>
                        <a:pt x="932" y="433"/>
                      </a:cubicBezTo>
                      <a:cubicBezTo>
                        <a:pt x="933" y="431"/>
                        <a:pt x="933" y="431"/>
                        <a:pt x="933" y="431"/>
                      </a:cubicBezTo>
                      <a:cubicBezTo>
                        <a:pt x="942" y="434"/>
                        <a:pt x="942" y="434"/>
                        <a:pt x="942" y="434"/>
                      </a:cubicBezTo>
                      <a:cubicBezTo>
                        <a:pt x="941" y="437"/>
                        <a:pt x="941" y="437"/>
                        <a:pt x="941" y="437"/>
                      </a:cubicBezTo>
                      <a:cubicBezTo>
                        <a:pt x="937" y="441"/>
                        <a:pt x="937" y="441"/>
                        <a:pt x="937" y="441"/>
                      </a:cubicBezTo>
                      <a:cubicBezTo>
                        <a:pt x="943" y="441"/>
                        <a:pt x="943" y="441"/>
                        <a:pt x="943" y="441"/>
                      </a:cubicBezTo>
                      <a:cubicBezTo>
                        <a:pt x="947" y="443"/>
                        <a:pt x="947" y="443"/>
                        <a:pt x="947" y="443"/>
                      </a:cubicBezTo>
                      <a:cubicBezTo>
                        <a:pt x="953" y="440"/>
                        <a:pt x="953" y="440"/>
                        <a:pt x="953" y="440"/>
                      </a:cubicBezTo>
                      <a:cubicBezTo>
                        <a:pt x="957" y="444"/>
                        <a:pt x="957" y="444"/>
                        <a:pt x="957" y="444"/>
                      </a:cubicBezTo>
                      <a:cubicBezTo>
                        <a:pt x="956" y="447"/>
                        <a:pt x="956" y="447"/>
                        <a:pt x="956" y="447"/>
                      </a:cubicBezTo>
                      <a:cubicBezTo>
                        <a:pt x="960" y="451"/>
                        <a:pt x="960" y="451"/>
                        <a:pt x="960" y="451"/>
                      </a:cubicBezTo>
                      <a:cubicBezTo>
                        <a:pt x="960" y="454"/>
                        <a:pt x="960" y="454"/>
                        <a:pt x="960" y="454"/>
                      </a:cubicBezTo>
                      <a:cubicBezTo>
                        <a:pt x="960" y="455"/>
                        <a:pt x="961" y="456"/>
                        <a:pt x="962" y="458"/>
                      </a:cubicBezTo>
                      <a:cubicBezTo>
                        <a:pt x="965" y="452"/>
                        <a:pt x="965" y="452"/>
                        <a:pt x="965" y="452"/>
                      </a:cubicBezTo>
                      <a:cubicBezTo>
                        <a:pt x="968" y="451"/>
                        <a:pt x="968" y="451"/>
                        <a:pt x="968" y="451"/>
                      </a:cubicBezTo>
                      <a:cubicBezTo>
                        <a:pt x="971" y="451"/>
                        <a:pt x="971" y="451"/>
                        <a:pt x="971" y="451"/>
                      </a:cubicBezTo>
                      <a:cubicBezTo>
                        <a:pt x="980" y="450"/>
                        <a:pt x="991" y="454"/>
                        <a:pt x="1000" y="460"/>
                      </a:cubicBezTo>
                      <a:cubicBezTo>
                        <a:pt x="1004" y="460"/>
                        <a:pt x="1004" y="460"/>
                        <a:pt x="1004" y="460"/>
                      </a:cubicBezTo>
                      <a:cubicBezTo>
                        <a:pt x="1009" y="463"/>
                        <a:pt x="1009" y="463"/>
                        <a:pt x="1009" y="463"/>
                      </a:cubicBezTo>
                      <a:cubicBezTo>
                        <a:pt x="1009" y="476"/>
                        <a:pt x="1009" y="476"/>
                        <a:pt x="1009" y="476"/>
                      </a:cubicBezTo>
                      <a:cubicBezTo>
                        <a:pt x="1008" y="476"/>
                        <a:pt x="1008" y="476"/>
                        <a:pt x="1008" y="476"/>
                      </a:cubicBezTo>
                      <a:cubicBezTo>
                        <a:pt x="1006" y="486"/>
                        <a:pt x="997" y="487"/>
                        <a:pt x="987" y="486"/>
                      </a:cubicBezTo>
                      <a:cubicBezTo>
                        <a:pt x="983" y="487"/>
                        <a:pt x="983" y="487"/>
                        <a:pt x="983" y="487"/>
                      </a:cubicBezTo>
                      <a:cubicBezTo>
                        <a:pt x="975" y="486"/>
                        <a:pt x="975" y="486"/>
                        <a:pt x="975" y="486"/>
                      </a:cubicBezTo>
                      <a:cubicBezTo>
                        <a:pt x="969" y="482"/>
                        <a:pt x="969" y="482"/>
                        <a:pt x="969" y="482"/>
                      </a:cubicBezTo>
                      <a:cubicBezTo>
                        <a:pt x="966" y="480"/>
                        <a:pt x="966" y="480"/>
                        <a:pt x="966" y="480"/>
                      </a:cubicBezTo>
                      <a:cubicBezTo>
                        <a:pt x="963" y="479"/>
                        <a:pt x="961" y="479"/>
                        <a:pt x="959" y="479"/>
                      </a:cubicBezTo>
                      <a:cubicBezTo>
                        <a:pt x="966" y="486"/>
                        <a:pt x="966" y="486"/>
                        <a:pt x="966" y="486"/>
                      </a:cubicBezTo>
                      <a:cubicBezTo>
                        <a:pt x="972" y="490"/>
                        <a:pt x="972" y="490"/>
                        <a:pt x="972" y="490"/>
                      </a:cubicBezTo>
                      <a:cubicBezTo>
                        <a:pt x="974" y="494"/>
                        <a:pt x="974" y="494"/>
                        <a:pt x="974" y="494"/>
                      </a:cubicBezTo>
                      <a:cubicBezTo>
                        <a:pt x="974" y="494"/>
                        <a:pt x="975" y="495"/>
                        <a:pt x="976" y="496"/>
                      </a:cubicBezTo>
                      <a:cubicBezTo>
                        <a:pt x="979" y="498"/>
                        <a:pt x="979" y="498"/>
                        <a:pt x="979" y="498"/>
                      </a:cubicBezTo>
                      <a:cubicBezTo>
                        <a:pt x="978" y="509"/>
                        <a:pt x="978" y="509"/>
                        <a:pt x="978" y="509"/>
                      </a:cubicBezTo>
                      <a:cubicBezTo>
                        <a:pt x="986" y="512"/>
                        <a:pt x="986" y="512"/>
                        <a:pt x="986" y="512"/>
                      </a:cubicBezTo>
                      <a:cubicBezTo>
                        <a:pt x="989" y="513"/>
                        <a:pt x="989" y="513"/>
                        <a:pt x="989" y="513"/>
                      </a:cubicBezTo>
                      <a:cubicBezTo>
                        <a:pt x="989" y="513"/>
                        <a:pt x="989" y="513"/>
                        <a:pt x="989" y="513"/>
                      </a:cubicBezTo>
                      <a:cubicBezTo>
                        <a:pt x="993" y="516"/>
                        <a:pt x="1001" y="518"/>
                        <a:pt x="1004" y="515"/>
                      </a:cubicBezTo>
                      <a:cubicBezTo>
                        <a:pt x="1005" y="512"/>
                        <a:pt x="1005" y="512"/>
                        <a:pt x="1005" y="512"/>
                      </a:cubicBezTo>
                      <a:cubicBezTo>
                        <a:pt x="1005" y="511"/>
                        <a:pt x="1005" y="510"/>
                        <a:pt x="1004" y="509"/>
                      </a:cubicBezTo>
                      <a:cubicBezTo>
                        <a:pt x="1004" y="509"/>
                        <a:pt x="1004" y="509"/>
                        <a:pt x="1004" y="509"/>
                      </a:cubicBezTo>
                      <a:cubicBezTo>
                        <a:pt x="1003" y="507"/>
                        <a:pt x="1002" y="506"/>
                        <a:pt x="1001" y="506"/>
                      </a:cubicBezTo>
                      <a:cubicBezTo>
                        <a:pt x="996" y="505"/>
                        <a:pt x="996" y="505"/>
                        <a:pt x="996" y="505"/>
                      </a:cubicBezTo>
                      <a:cubicBezTo>
                        <a:pt x="991" y="500"/>
                        <a:pt x="991" y="500"/>
                        <a:pt x="991" y="500"/>
                      </a:cubicBezTo>
                      <a:cubicBezTo>
                        <a:pt x="992" y="497"/>
                        <a:pt x="992" y="497"/>
                        <a:pt x="992" y="497"/>
                      </a:cubicBezTo>
                      <a:cubicBezTo>
                        <a:pt x="999" y="500"/>
                        <a:pt x="999" y="500"/>
                        <a:pt x="999" y="500"/>
                      </a:cubicBezTo>
                      <a:cubicBezTo>
                        <a:pt x="1001" y="500"/>
                        <a:pt x="1003" y="501"/>
                        <a:pt x="1004" y="501"/>
                      </a:cubicBezTo>
                      <a:cubicBezTo>
                        <a:pt x="1011" y="501"/>
                        <a:pt x="1011" y="501"/>
                        <a:pt x="1011" y="501"/>
                      </a:cubicBezTo>
                      <a:cubicBezTo>
                        <a:pt x="1018" y="502"/>
                        <a:pt x="1018" y="502"/>
                        <a:pt x="1018" y="502"/>
                      </a:cubicBezTo>
                      <a:cubicBezTo>
                        <a:pt x="1020" y="502"/>
                        <a:pt x="1022" y="502"/>
                        <a:pt x="1024" y="502"/>
                      </a:cubicBezTo>
                      <a:cubicBezTo>
                        <a:pt x="1021" y="501"/>
                        <a:pt x="1020" y="499"/>
                        <a:pt x="1018" y="497"/>
                      </a:cubicBezTo>
                      <a:cubicBezTo>
                        <a:pt x="1013" y="493"/>
                        <a:pt x="1013" y="493"/>
                        <a:pt x="1013" y="493"/>
                      </a:cubicBezTo>
                      <a:cubicBezTo>
                        <a:pt x="1015" y="486"/>
                        <a:pt x="1015" y="486"/>
                        <a:pt x="1015" y="486"/>
                      </a:cubicBezTo>
                      <a:cubicBezTo>
                        <a:pt x="1015" y="483"/>
                        <a:pt x="1016" y="480"/>
                        <a:pt x="1018" y="478"/>
                      </a:cubicBezTo>
                      <a:cubicBezTo>
                        <a:pt x="1018" y="477"/>
                        <a:pt x="1018" y="477"/>
                        <a:pt x="1018" y="477"/>
                      </a:cubicBezTo>
                      <a:cubicBezTo>
                        <a:pt x="1022" y="474"/>
                        <a:pt x="1022" y="474"/>
                        <a:pt x="1022" y="474"/>
                      </a:cubicBezTo>
                      <a:cubicBezTo>
                        <a:pt x="1027" y="477"/>
                        <a:pt x="1027" y="477"/>
                        <a:pt x="1027" y="477"/>
                      </a:cubicBezTo>
                      <a:cubicBezTo>
                        <a:pt x="1027" y="474"/>
                        <a:pt x="1027" y="470"/>
                        <a:pt x="1026" y="466"/>
                      </a:cubicBezTo>
                      <a:cubicBezTo>
                        <a:pt x="1023" y="465"/>
                        <a:pt x="1023" y="465"/>
                        <a:pt x="1023" y="465"/>
                      </a:cubicBezTo>
                      <a:cubicBezTo>
                        <a:pt x="1022" y="461"/>
                        <a:pt x="1022" y="461"/>
                        <a:pt x="1022" y="461"/>
                      </a:cubicBezTo>
                      <a:cubicBezTo>
                        <a:pt x="1020" y="452"/>
                        <a:pt x="1020" y="452"/>
                        <a:pt x="1020" y="452"/>
                      </a:cubicBezTo>
                      <a:cubicBezTo>
                        <a:pt x="1016" y="446"/>
                        <a:pt x="1016" y="446"/>
                        <a:pt x="1016" y="446"/>
                      </a:cubicBezTo>
                      <a:cubicBezTo>
                        <a:pt x="1018" y="446"/>
                        <a:pt x="1019" y="445"/>
                        <a:pt x="1020" y="445"/>
                      </a:cubicBezTo>
                      <a:cubicBezTo>
                        <a:pt x="1024" y="445"/>
                        <a:pt x="1024" y="445"/>
                        <a:pt x="1024" y="445"/>
                      </a:cubicBezTo>
                      <a:cubicBezTo>
                        <a:pt x="1026" y="448"/>
                        <a:pt x="1026" y="448"/>
                        <a:pt x="1026" y="448"/>
                      </a:cubicBezTo>
                      <a:cubicBezTo>
                        <a:pt x="1027" y="448"/>
                        <a:pt x="1027" y="449"/>
                        <a:pt x="1028" y="450"/>
                      </a:cubicBezTo>
                      <a:cubicBezTo>
                        <a:pt x="1028" y="451"/>
                        <a:pt x="1028" y="451"/>
                        <a:pt x="1028" y="451"/>
                      </a:cubicBezTo>
                      <a:cubicBezTo>
                        <a:pt x="1028" y="452"/>
                        <a:pt x="1028" y="452"/>
                        <a:pt x="1028" y="452"/>
                      </a:cubicBezTo>
                      <a:cubicBezTo>
                        <a:pt x="1029" y="454"/>
                        <a:pt x="1029" y="457"/>
                        <a:pt x="1029" y="459"/>
                      </a:cubicBezTo>
                      <a:cubicBezTo>
                        <a:pt x="1036" y="459"/>
                        <a:pt x="1036" y="459"/>
                        <a:pt x="1036" y="459"/>
                      </a:cubicBezTo>
                      <a:cubicBezTo>
                        <a:pt x="1041" y="458"/>
                        <a:pt x="1045" y="455"/>
                        <a:pt x="1049" y="451"/>
                      </a:cubicBezTo>
                      <a:cubicBezTo>
                        <a:pt x="1049" y="449"/>
                        <a:pt x="1049" y="449"/>
                        <a:pt x="1049" y="449"/>
                      </a:cubicBezTo>
                      <a:cubicBezTo>
                        <a:pt x="1057" y="432"/>
                        <a:pt x="1057" y="432"/>
                        <a:pt x="1057" y="432"/>
                      </a:cubicBezTo>
                      <a:cubicBezTo>
                        <a:pt x="1061" y="431"/>
                        <a:pt x="1061" y="431"/>
                        <a:pt x="1061" y="431"/>
                      </a:cubicBezTo>
                      <a:cubicBezTo>
                        <a:pt x="1061" y="427"/>
                        <a:pt x="1062" y="424"/>
                        <a:pt x="1062" y="422"/>
                      </a:cubicBezTo>
                      <a:cubicBezTo>
                        <a:pt x="1065" y="421"/>
                        <a:pt x="1065" y="421"/>
                        <a:pt x="1065" y="421"/>
                      </a:cubicBezTo>
                      <a:cubicBezTo>
                        <a:pt x="1068" y="426"/>
                        <a:pt x="1068" y="426"/>
                        <a:pt x="1068" y="426"/>
                      </a:cubicBezTo>
                      <a:cubicBezTo>
                        <a:pt x="1069" y="427"/>
                        <a:pt x="1071" y="428"/>
                        <a:pt x="1072" y="428"/>
                      </a:cubicBezTo>
                      <a:cubicBezTo>
                        <a:pt x="1074" y="428"/>
                        <a:pt x="1074" y="428"/>
                        <a:pt x="1074" y="428"/>
                      </a:cubicBezTo>
                      <a:cubicBezTo>
                        <a:pt x="1074" y="427"/>
                        <a:pt x="1074" y="426"/>
                        <a:pt x="1074" y="424"/>
                      </a:cubicBezTo>
                      <a:cubicBezTo>
                        <a:pt x="1073" y="421"/>
                        <a:pt x="1073" y="421"/>
                        <a:pt x="1073" y="421"/>
                      </a:cubicBezTo>
                      <a:cubicBezTo>
                        <a:pt x="1075" y="420"/>
                        <a:pt x="1075" y="420"/>
                        <a:pt x="1075" y="420"/>
                      </a:cubicBezTo>
                      <a:cubicBezTo>
                        <a:pt x="1078" y="416"/>
                        <a:pt x="1083" y="412"/>
                        <a:pt x="1085" y="407"/>
                      </a:cubicBezTo>
                      <a:cubicBezTo>
                        <a:pt x="1087" y="410"/>
                        <a:pt x="1087" y="410"/>
                        <a:pt x="1087" y="410"/>
                      </a:cubicBezTo>
                      <a:cubicBezTo>
                        <a:pt x="1089" y="412"/>
                        <a:pt x="1091" y="413"/>
                        <a:pt x="1092" y="415"/>
                      </a:cubicBezTo>
                      <a:cubicBezTo>
                        <a:pt x="1093" y="413"/>
                        <a:pt x="1093" y="411"/>
                        <a:pt x="1093" y="409"/>
                      </a:cubicBezTo>
                      <a:cubicBezTo>
                        <a:pt x="1090" y="402"/>
                        <a:pt x="1090" y="402"/>
                        <a:pt x="1090" y="402"/>
                      </a:cubicBezTo>
                      <a:cubicBezTo>
                        <a:pt x="1089" y="401"/>
                        <a:pt x="1088" y="400"/>
                        <a:pt x="1087" y="399"/>
                      </a:cubicBezTo>
                      <a:cubicBezTo>
                        <a:pt x="1089" y="398"/>
                        <a:pt x="1092" y="397"/>
                        <a:pt x="1094" y="396"/>
                      </a:cubicBezTo>
                      <a:cubicBezTo>
                        <a:pt x="1096" y="395"/>
                        <a:pt x="1096" y="395"/>
                        <a:pt x="1096" y="395"/>
                      </a:cubicBezTo>
                      <a:cubicBezTo>
                        <a:pt x="1098" y="395"/>
                        <a:pt x="1098" y="395"/>
                        <a:pt x="1098" y="395"/>
                      </a:cubicBezTo>
                      <a:cubicBezTo>
                        <a:pt x="1107" y="393"/>
                        <a:pt x="1118" y="393"/>
                        <a:pt x="1127" y="393"/>
                      </a:cubicBezTo>
                      <a:cubicBezTo>
                        <a:pt x="1128" y="393"/>
                        <a:pt x="1128" y="393"/>
                        <a:pt x="1128" y="393"/>
                      </a:cubicBezTo>
                      <a:cubicBezTo>
                        <a:pt x="1132" y="393"/>
                        <a:pt x="1132" y="393"/>
                        <a:pt x="1132" y="393"/>
                      </a:cubicBezTo>
                      <a:cubicBezTo>
                        <a:pt x="1131" y="389"/>
                        <a:pt x="1128" y="387"/>
                        <a:pt x="1125" y="386"/>
                      </a:cubicBezTo>
                      <a:cubicBezTo>
                        <a:pt x="1118" y="384"/>
                        <a:pt x="1118" y="384"/>
                        <a:pt x="1118" y="384"/>
                      </a:cubicBezTo>
                      <a:cubicBezTo>
                        <a:pt x="1107" y="379"/>
                        <a:pt x="1107" y="379"/>
                        <a:pt x="1107" y="379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4" y="377"/>
                        <a:pt x="1104" y="377"/>
                        <a:pt x="1104" y="377"/>
                      </a:cubicBezTo>
                      <a:cubicBezTo>
                        <a:pt x="1102" y="376"/>
                        <a:pt x="1102" y="376"/>
                        <a:pt x="1102" y="376"/>
                      </a:cubicBezTo>
                      <a:cubicBezTo>
                        <a:pt x="1101" y="374"/>
                        <a:pt x="1101" y="374"/>
                        <a:pt x="1101" y="374"/>
                      </a:cubicBezTo>
                      <a:cubicBezTo>
                        <a:pt x="1100" y="372"/>
                        <a:pt x="1099" y="370"/>
                        <a:pt x="1098" y="368"/>
                      </a:cubicBezTo>
                      <a:cubicBezTo>
                        <a:pt x="1093" y="358"/>
                        <a:pt x="1093" y="358"/>
                        <a:pt x="1093" y="358"/>
                      </a:cubicBezTo>
                      <a:cubicBezTo>
                        <a:pt x="1094" y="354"/>
                        <a:pt x="1094" y="354"/>
                        <a:pt x="1094" y="354"/>
                      </a:cubicBezTo>
                      <a:cubicBezTo>
                        <a:pt x="1099" y="352"/>
                        <a:pt x="1099" y="352"/>
                        <a:pt x="1099" y="352"/>
                      </a:cubicBezTo>
                      <a:cubicBezTo>
                        <a:pt x="1099" y="352"/>
                        <a:pt x="1099" y="351"/>
                        <a:pt x="1100" y="351"/>
                      </a:cubicBezTo>
                      <a:cubicBezTo>
                        <a:pt x="1100" y="351"/>
                        <a:pt x="1100" y="351"/>
                        <a:pt x="1100" y="351"/>
                      </a:cubicBezTo>
                      <a:cubicBezTo>
                        <a:pt x="1102" y="353"/>
                        <a:pt x="1102" y="353"/>
                        <a:pt x="1102" y="353"/>
                      </a:cubicBezTo>
                      <a:cubicBezTo>
                        <a:pt x="1102" y="353"/>
                        <a:pt x="1102" y="353"/>
                        <a:pt x="1102" y="353"/>
                      </a:cubicBezTo>
                      <a:cubicBezTo>
                        <a:pt x="1111" y="363"/>
                        <a:pt x="1129" y="371"/>
                        <a:pt x="1142" y="382"/>
                      </a:cubicBezTo>
                      <a:cubicBezTo>
                        <a:pt x="1145" y="384"/>
                        <a:pt x="1145" y="384"/>
                        <a:pt x="1145" y="384"/>
                      </a:cubicBezTo>
                      <a:cubicBezTo>
                        <a:pt x="1147" y="387"/>
                        <a:pt x="1147" y="387"/>
                        <a:pt x="1147" y="387"/>
                      </a:cubicBezTo>
                      <a:cubicBezTo>
                        <a:pt x="1151" y="391"/>
                        <a:pt x="1154" y="395"/>
                        <a:pt x="1155" y="401"/>
                      </a:cubicBezTo>
                      <a:cubicBezTo>
                        <a:pt x="1156" y="402"/>
                        <a:pt x="1156" y="402"/>
                        <a:pt x="1156" y="402"/>
                      </a:cubicBezTo>
                      <a:cubicBezTo>
                        <a:pt x="1155" y="410"/>
                        <a:pt x="1155" y="410"/>
                        <a:pt x="1155" y="410"/>
                      </a:cubicBezTo>
                      <a:cubicBezTo>
                        <a:pt x="1160" y="408"/>
                        <a:pt x="1162" y="404"/>
                        <a:pt x="1162" y="398"/>
                      </a:cubicBezTo>
                      <a:cubicBezTo>
                        <a:pt x="1160" y="394"/>
                        <a:pt x="1160" y="394"/>
                        <a:pt x="1160" y="394"/>
                      </a:cubicBezTo>
                      <a:cubicBezTo>
                        <a:pt x="1159" y="386"/>
                        <a:pt x="1159" y="386"/>
                        <a:pt x="1159" y="386"/>
                      </a:cubicBezTo>
                      <a:cubicBezTo>
                        <a:pt x="1158" y="383"/>
                        <a:pt x="1157" y="381"/>
                        <a:pt x="1155" y="380"/>
                      </a:cubicBezTo>
                      <a:cubicBezTo>
                        <a:pt x="1153" y="378"/>
                        <a:pt x="1153" y="378"/>
                        <a:pt x="1153" y="378"/>
                      </a:cubicBezTo>
                      <a:cubicBezTo>
                        <a:pt x="1158" y="376"/>
                        <a:pt x="1158" y="376"/>
                        <a:pt x="1158" y="376"/>
                      </a:cubicBezTo>
                      <a:cubicBezTo>
                        <a:pt x="1155" y="375"/>
                        <a:pt x="1151" y="375"/>
                        <a:pt x="1148" y="374"/>
                      </a:cubicBezTo>
                      <a:cubicBezTo>
                        <a:pt x="1144" y="374"/>
                        <a:pt x="1144" y="374"/>
                        <a:pt x="1144" y="374"/>
                      </a:cubicBezTo>
                      <a:cubicBezTo>
                        <a:pt x="1143" y="372"/>
                        <a:pt x="1143" y="372"/>
                        <a:pt x="1143" y="372"/>
                      </a:cubicBezTo>
                      <a:cubicBezTo>
                        <a:pt x="1138" y="371"/>
                        <a:pt x="1135" y="369"/>
                        <a:pt x="1132" y="368"/>
                      </a:cubicBezTo>
                      <a:cubicBezTo>
                        <a:pt x="1129" y="366"/>
                        <a:pt x="1127" y="365"/>
                        <a:pt x="1125" y="363"/>
                      </a:cubicBezTo>
                      <a:cubicBezTo>
                        <a:pt x="1122" y="363"/>
                        <a:pt x="1122" y="363"/>
                        <a:pt x="1122" y="363"/>
                      </a:cubicBezTo>
                      <a:cubicBezTo>
                        <a:pt x="1118" y="360"/>
                        <a:pt x="1118" y="360"/>
                        <a:pt x="1118" y="360"/>
                      </a:cubicBezTo>
                      <a:cubicBezTo>
                        <a:pt x="1117" y="355"/>
                        <a:pt x="1117" y="355"/>
                        <a:pt x="1117" y="355"/>
                      </a:cubicBezTo>
                      <a:cubicBezTo>
                        <a:pt x="1117" y="354"/>
                        <a:pt x="1116" y="354"/>
                        <a:pt x="1116" y="353"/>
                      </a:cubicBezTo>
                      <a:cubicBezTo>
                        <a:pt x="1110" y="346"/>
                        <a:pt x="1110" y="346"/>
                        <a:pt x="1110" y="346"/>
                      </a:cubicBezTo>
                      <a:cubicBezTo>
                        <a:pt x="1110" y="343"/>
                        <a:pt x="1110" y="343"/>
                        <a:pt x="1110" y="343"/>
                      </a:cubicBezTo>
                      <a:cubicBezTo>
                        <a:pt x="1114" y="343"/>
                        <a:pt x="1114" y="343"/>
                        <a:pt x="1114" y="343"/>
                      </a:cubicBezTo>
                      <a:cubicBezTo>
                        <a:pt x="1117" y="348"/>
                        <a:pt x="1117" y="348"/>
                        <a:pt x="1117" y="348"/>
                      </a:cubicBezTo>
                      <a:cubicBezTo>
                        <a:pt x="1120" y="350"/>
                        <a:pt x="1123" y="352"/>
                        <a:pt x="1127" y="352"/>
                      </a:cubicBezTo>
                      <a:cubicBezTo>
                        <a:pt x="1130" y="349"/>
                        <a:pt x="1130" y="349"/>
                        <a:pt x="1130" y="349"/>
                      </a:cubicBezTo>
                      <a:cubicBezTo>
                        <a:pt x="1130" y="347"/>
                        <a:pt x="1128" y="345"/>
                        <a:pt x="1125" y="344"/>
                      </a:cubicBezTo>
                      <a:cubicBezTo>
                        <a:pt x="1121" y="343"/>
                        <a:pt x="1121" y="343"/>
                        <a:pt x="1121" y="343"/>
                      </a:cubicBezTo>
                      <a:cubicBezTo>
                        <a:pt x="1122" y="342"/>
                        <a:pt x="1122" y="341"/>
                        <a:pt x="1123" y="340"/>
                      </a:cubicBezTo>
                      <a:cubicBezTo>
                        <a:pt x="1124" y="336"/>
                        <a:pt x="1124" y="336"/>
                        <a:pt x="1124" y="336"/>
                      </a:cubicBezTo>
                      <a:cubicBezTo>
                        <a:pt x="1127" y="336"/>
                        <a:pt x="1127" y="336"/>
                        <a:pt x="1127" y="336"/>
                      </a:cubicBezTo>
                      <a:cubicBezTo>
                        <a:pt x="1131" y="335"/>
                        <a:pt x="1136" y="336"/>
                        <a:pt x="1141" y="336"/>
                      </a:cubicBezTo>
                      <a:cubicBezTo>
                        <a:pt x="1136" y="330"/>
                        <a:pt x="1123" y="330"/>
                        <a:pt x="1120" y="326"/>
                      </a:cubicBezTo>
                      <a:cubicBezTo>
                        <a:pt x="1118" y="324"/>
                        <a:pt x="1118" y="321"/>
                        <a:pt x="1119" y="319"/>
                      </a:cubicBezTo>
                      <a:cubicBezTo>
                        <a:pt x="1118" y="317"/>
                        <a:pt x="1118" y="317"/>
                        <a:pt x="1118" y="317"/>
                      </a:cubicBezTo>
                      <a:cubicBezTo>
                        <a:pt x="1119" y="309"/>
                        <a:pt x="1119" y="309"/>
                        <a:pt x="1119" y="309"/>
                      </a:cubicBezTo>
                      <a:cubicBezTo>
                        <a:pt x="1123" y="308"/>
                        <a:pt x="1123" y="308"/>
                        <a:pt x="1123" y="308"/>
                      </a:cubicBezTo>
                      <a:cubicBezTo>
                        <a:pt x="1123" y="306"/>
                        <a:pt x="1122" y="305"/>
                        <a:pt x="1122" y="303"/>
                      </a:cubicBezTo>
                      <a:cubicBezTo>
                        <a:pt x="1118" y="302"/>
                        <a:pt x="1118" y="302"/>
                        <a:pt x="1118" y="302"/>
                      </a:cubicBezTo>
                      <a:cubicBezTo>
                        <a:pt x="1113" y="292"/>
                        <a:pt x="1113" y="292"/>
                        <a:pt x="1113" y="292"/>
                      </a:cubicBezTo>
                      <a:cubicBezTo>
                        <a:pt x="1110" y="287"/>
                        <a:pt x="1110" y="287"/>
                        <a:pt x="1110" y="287"/>
                      </a:cubicBezTo>
                      <a:cubicBezTo>
                        <a:pt x="1110" y="277"/>
                        <a:pt x="1110" y="277"/>
                        <a:pt x="1110" y="277"/>
                      </a:cubicBezTo>
                      <a:cubicBezTo>
                        <a:pt x="1109" y="271"/>
                        <a:pt x="1109" y="271"/>
                        <a:pt x="1109" y="271"/>
                      </a:cubicBezTo>
                      <a:cubicBezTo>
                        <a:pt x="1112" y="269"/>
                        <a:pt x="1112" y="269"/>
                        <a:pt x="1112" y="269"/>
                      </a:cubicBezTo>
                      <a:cubicBezTo>
                        <a:pt x="1112" y="269"/>
                        <a:pt x="1112" y="268"/>
                        <a:pt x="1113" y="268"/>
                      </a:cubicBezTo>
                      <a:cubicBezTo>
                        <a:pt x="1113" y="264"/>
                        <a:pt x="1113" y="264"/>
                        <a:pt x="1113" y="264"/>
                      </a:cubicBezTo>
                      <a:cubicBezTo>
                        <a:pt x="1110" y="263"/>
                        <a:pt x="1110" y="263"/>
                        <a:pt x="1110" y="263"/>
                      </a:cubicBezTo>
                      <a:cubicBezTo>
                        <a:pt x="1106" y="258"/>
                        <a:pt x="1106" y="258"/>
                        <a:pt x="1106" y="258"/>
                      </a:cubicBezTo>
                      <a:cubicBezTo>
                        <a:pt x="1104" y="257"/>
                        <a:pt x="1103" y="256"/>
                        <a:pt x="1103" y="254"/>
                      </a:cubicBezTo>
                      <a:cubicBezTo>
                        <a:pt x="1102" y="253"/>
                        <a:pt x="1102" y="253"/>
                        <a:pt x="1102" y="253"/>
                      </a:cubicBezTo>
                      <a:cubicBezTo>
                        <a:pt x="1102" y="252"/>
                        <a:pt x="1102" y="252"/>
                        <a:pt x="1102" y="252"/>
                      </a:cubicBezTo>
                      <a:cubicBezTo>
                        <a:pt x="1102" y="252"/>
                        <a:pt x="1102" y="252"/>
                        <a:pt x="1102" y="252"/>
                      </a:cubicBezTo>
                      <a:cubicBezTo>
                        <a:pt x="1103" y="251"/>
                        <a:pt x="1102" y="251"/>
                        <a:pt x="1101" y="250"/>
                      </a:cubicBezTo>
                      <a:cubicBezTo>
                        <a:pt x="1098" y="248"/>
                        <a:pt x="1098" y="248"/>
                        <a:pt x="1098" y="248"/>
                      </a:cubicBezTo>
                      <a:cubicBezTo>
                        <a:pt x="1095" y="246"/>
                        <a:pt x="1095" y="246"/>
                        <a:pt x="1095" y="246"/>
                      </a:cubicBezTo>
                      <a:cubicBezTo>
                        <a:pt x="1092" y="244"/>
                        <a:pt x="1089" y="243"/>
                        <a:pt x="1089" y="241"/>
                      </a:cubicBezTo>
                      <a:cubicBezTo>
                        <a:pt x="1088" y="237"/>
                        <a:pt x="1089" y="235"/>
                        <a:pt x="1091" y="234"/>
                      </a:cubicBezTo>
                      <a:cubicBezTo>
                        <a:pt x="1091" y="233"/>
                        <a:pt x="1091" y="233"/>
                        <a:pt x="1091" y="233"/>
                      </a:cubicBezTo>
                      <a:cubicBezTo>
                        <a:pt x="1092" y="233"/>
                        <a:pt x="1092" y="233"/>
                        <a:pt x="1092" y="233"/>
                      </a:cubicBezTo>
                      <a:cubicBezTo>
                        <a:pt x="1093" y="233"/>
                        <a:pt x="1094" y="233"/>
                        <a:pt x="1095" y="232"/>
                      </a:cubicBezTo>
                      <a:cubicBezTo>
                        <a:pt x="1099" y="232"/>
                        <a:pt x="1099" y="232"/>
                        <a:pt x="1099" y="232"/>
                      </a:cubicBezTo>
                      <a:cubicBezTo>
                        <a:pt x="1103" y="235"/>
                        <a:pt x="1103" y="235"/>
                        <a:pt x="1103" y="235"/>
                      </a:cubicBezTo>
                      <a:cubicBezTo>
                        <a:pt x="1104" y="235"/>
                        <a:pt x="1105" y="235"/>
                        <a:pt x="1105" y="236"/>
                      </a:cubicBezTo>
                      <a:cubicBezTo>
                        <a:pt x="1109" y="225"/>
                        <a:pt x="1114" y="223"/>
                        <a:pt x="1120" y="226"/>
                      </a:cubicBezTo>
                      <a:cubicBezTo>
                        <a:pt x="1122" y="225"/>
                        <a:pt x="1122" y="225"/>
                        <a:pt x="1122" y="225"/>
                      </a:cubicBezTo>
                      <a:cubicBezTo>
                        <a:pt x="1135" y="235"/>
                        <a:pt x="1135" y="235"/>
                        <a:pt x="1135" y="235"/>
                      </a:cubicBezTo>
                      <a:cubicBezTo>
                        <a:pt x="1136" y="238"/>
                        <a:pt x="1136" y="238"/>
                        <a:pt x="1136" y="238"/>
                      </a:cubicBezTo>
                      <a:cubicBezTo>
                        <a:pt x="1140" y="242"/>
                        <a:pt x="1145" y="245"/>
                        <a:pt x="1148" y="244"/>
                      </a:cubicBezTo>
                      <a:cubicBezTo>
                        <a:pt x="1146" y="243"/>
                        <a:pt x="1145" y="241"/>
                        <a:pt x="1144" y="239"/>
                      </a:cubicBezTo>
                      <a:cubicBezTo>
                        <a:pt x="1141" y="236"/>
                        <a:pt x="1141" y="236"/>
                        <a:pt x="1141" y="236"/>
                      </a:cubicBezTo>
                      <a:cubicBezTo>
                        <a:pt x="1143" y="233"/>
                        <a:pt x="1143" y="233"/>
                        <a:pt x="1143" y="233"/>
                      </a:cubicBezTo>
                      <a:cubicBezTo>
                        <a:pt x="1144" y="230"/>
                        <a:pt x="1145" y="227"/>
                        <a:pt x="1146" y="224"/>
                      </a:cubicBezTo>
                      <a:cubicBezTo>
                        <a:pt x="1147" y="214"/>
                        <a:pt x="1147" y="214"/>
                        <a:pt x="1147" y="214"/>
                      </a:cubicBezTo>
                      <a:cubicBezTo>
                        <a:pt x="1151" y="210"/>
                        <a:pt x="1151" y="210"/>
                        <a:pt x="1151" y="210"/>
                      </a:cubicBezTo>
                      <a:cubicBezTo>
                        <a:pt x="1151" y="209"/>
                        <a:pt x="1152" y="208"/>
                        <a:pt x="1152" y="207"/>
                      </a:cubicBezTo>
                      <a:cubicBezTo>
                        <a:pt x="1153" y="198"/>
                        <a:pt x="1153" y="198"/>
                        <a:pt x="1153" y="198"/>
                      </a:cubicBezTo>
                      <a:cubicBezTo>
                        <a:pt x="1151" y="198"/>
                        <a:pt x="1150" y="198"/>
                        <a:pt x="1149" y="198"/>
                      </a:cubicBezTo>
                      <a:cubicBezTo>
                        <a:pt x="1144" y="198"/>
                        <a:pt x="1144" y="198"/>
                        <a:pt x="1144" y="198"/>
                      </a:cubicBezTo>
                      <a:cubicBezTo>
                        <a:pt x="1140" y="195"/>
                        <a:pt x="1140" y="195"/>
                        <a:pt x="1140" y="195"/>
                      </a:cubicBezTo>
                      <a:cubicBezTo>
                        <a:pt x="1141" y="192"/>
                        <a:pt x="1142" y="190"/>
                        <a:pt x="1143" y="188"/>
                      </a:cubicBezTo>
                      <a:cubicBezTo>
                        <a:pt x="1144" y="185"/>
                        <a:pt x="1144" y="185"/>
                        <a:pt x="1144" y="185"/>
                      </a:cubicBezTo>
                      <a:cubicBezTo>
                        <a:pt x="1155" y="183"/>
                        <a:pt x="1155" y="183"/>
                        <a:pt x="1155" y="183"/>
                      </a:cubicBezTo>
                      <a:cubicBezTo>
                        <a:pt x="1156" y="183"/>
                        <a:pt x="1156" y="183"/>
                        <a:pt x="1156" y="183"/>
                      </a:cubicBezTo>
                      <a:cubicBezTo>
                        <a:pt x="1158" y="183"/>
                        <a:pt x="1160" y="183"/>
                        <a:pt x="1162" y="182"/>
                      </a:cubicBezTo>
                      <a:cubicBezTo>
                        <a:pt x="1159" y="177"/>
                        <a:pt x="1154" y="177"/>
                        <a:pt x="1150" y="177"/>
                      </a:cubicBezTo>
                      <a:cubicBezTo>
                        <a:pt x="1150" y="177"/>
                        <a:pt x="1150" y="177"/>
                        <a:pt x="1150" y="177"/>
                      </a:cubicBezTo>
                      <a:cubicBezTo>
                        <a:pt x="1150" y="177"/>
                        <a:pt x="1150" y="177"/>
                        <a:pt x="1150" y="177"/>
                      </a:cubicBezTo>
                      <a:cubicBezTo>
                        <a:pt x="1149" y="177"/>
                        <a:pt x="1148" y="176"/>
                        <a:pt x="1147" y="176"/>
                      </a:cubicBezTo>
                      <a:cubicBezTo>
                        <a:pt x="1144" y="175"/>
                        <a:pt x="1144" y="175"/>
                        <a:pt x="1144" y="175"/>
                      </a:cubicBezTo>
                      <a:cubicBezTo>
                        <a:pt x="1142" y="166"/>
                        <a:pt x="1142" y="166"/>
                        <a:pt x="1142" y="166"/>
                      </a:cubicBezTo>
                      <a:cubicBezTo>
                        <a:pt x="1143" y="166"/>
                        <a:pt x="1143" y="166"/>
                        <a:pt x="1143" y="166"/>
                      </a:cubicBezTo>
                      <a:cubicBezTo>
                        <a:pt x="1142" y="164"/>
                        <a:pt x="1142" y="162"/>
                        <a:pt x="1141" y="160"/>
                      </a:cubicBezTo>
                      <a:cubicBezTo>
                        <a:pt x="1134" y="155"/>
                        <a:pt x="1134" y="155"/>
                        <a:pt x="1134" y="155"/>
                      </a:cubicBezTo>
                      <a:cubicBezTo>
                        <a:pt x="1130" y="157"/>
                        <a:pt x="1130" y="157"/>
                        <a:pt x="1130" y="157"/>
                      </a:cubicBezTo>
                      <a:cubicBezTo>
                        <a:pt x="1130" y="160"/>
                        <a:pt x="1130" y="160"/>
                        <a:pt x="1130" y="160"/>
                      </a:cubicBezTo>
                      <a:cubicBezTo>
                        <a:pt x="1121" y="159"/>
                        <a:pt x="1121" y="159"/>
                        <a:pt x="1121" y="159"/>
                      </a:cubicBezTo>
                      <a:cubicBezTo>
                        <a:pt x="1120" y="157"/>
                        <a:pt x="1120" y="157"/>
                        <a:pt x="1120" y="157"/>
                      </a:cubicBezTo>
                      <a:cubicBezTo>
                        <a:pt x="1117" y="156"/>
                        <a:pt x="1115" y="155"/>
                        <a:pt x="1113" y="153"/>
                      </a:cubicBezTo>
                      <a:cubicBezTo>
                        <a:pt x="1111" y="152"/>
                        <a:pt x="1111" y="152"/>
                        <a:pt x="1111" y="152"/>
                      </a:cubicBezTo>
                      <a:cubicBezTo>
                        <a:pt x="1110" y="149"/>
                        <a:pt x="1110" y="149"/>
                        <a:pt x="1110" y="149"/>
                      </a:cubicBezTo>
                      <a:cubicBezTo>
                        <a:pt x="1109" y="147"/>
                        <a:pt x="1108" y="146"/>
                        <a:pt x="1108" y="144"/>
                      </a:cubicBezTo>
                      <a:cubicBezTo>
                        <a:pt x="1111" y="143"/>
                        <a:pt x="1113" y="141"/>
                        <a:pt x="1115" y="141"/>
                      </a:cubicBezTo>
                      <a:cubicBezTo>
                        <a:pt x="1111" y="139"/>
                        <a:pt x="1108" y="137"/>
                        <a:pt x="1106" y="135"/>
                      </a:cubicBezTo>
                      <a:cubicBezTo>
                        <a:pt x="1106" y="135"/>
                        <a:pt x="1106" y="135"/>
                        <a:pt x="1106" y="135"/>
                      </a:cubicBezTo>
                      <a:cubicBezTo>
                        <a:pt x="1104" y="131"/>
                        <a:pt x="1104" y="131"/>
                        <a:pt x="1104" y="131"/>
                      </a:cubicBezTo>
                      <a:cubicBezTo>
                        <a:pt x="1106" y="130"/>
                        <a:pt x="1106" y="130"/>
                        <a:pt x="1106" y="130"/>
                      </a:cubicBezTo>
                      <a:cubicBezTo>
                        <a:pt x="1104" y="128"/>
                        <a:pt x="1104" y="128"/>
                        <a:pt x="1104" y="128"/>
                      </a:cubicBezTo>
                      <a:cubicBezTo>
                        <a:pt x="1099" y="122"/>
                        <a:pt x="1088" y="117"/>
                        <a:pt x="1082" y="112"/>
                      </a:cubicBezTo>
                      <a:cubicBezTo>
                        <a:pt x="1077" y="110"/>
                        <a:pt x="1077" y="110"/>
                        <a:pt x="1077" y="110"/>
                      </a:cubicBezTo>
                      <a:cubicBezTo>
                        <a:pt x="1074" y="106"/>
                        <a:pt x="1074" y="106"/>
                        <a:pt x="1074" y="106"/>
                      </a:cubicBezTo>
                      <a:cubicBezTo>
                        <a:pt x="1077" y="102"/>
                        <a:pt x="1077" y="102"/>
                        <a:pt x="1077" y="102"/>
                      </a:cubicBezTo>
                      <a:cubicBezTo>
                        <a:pt x="1077" y="101"/>
                        <a:pt x="1078" y="100"/>
                        <a:pt x="1080" y="99"/>
                      </a:cubicBezTo>
                      <a:cubicBezTo>
                        <a:pt x="1078" y="99"/>
                        <a:pt x="1077" y="99"/>
                        <a:pt x="1075" y="99"/>
                      </a:cubicBezTo>
                      <a:cubicBezTo>
                        <a:pt x="1073" y="98"/>
                        <a:pt x="1073" y="98"/>
                        <a:pt x="1073" y="98"/>
                      </a:cubicBezTo>
                      <a:cubicBezTo>
                        <a:pt x="1069" y="97"/>
                        <a:pt x="1069" y="97"/>
                        <a:pt x="1069" y="97"/>
                      </a:cubicBezTo>
                      <a:cubicBezTo>
                        <a:pt x="1068" y="96"/>
                        <a:pt x="1068" y="96"/>
                        <a:pt x="1068" y="96"/>
                      </a:cubicBezTo>
                      <a:cubicBezTo>
                        <a:pt x="1062" y="93"/>
                        <a:pt x="1056" y="90"/>
                        <a:pt x="1054" y="86"/>
                      </a:cubicBezTo>
                      <a:cubicBezTo>
                        <a:pt x="1050" y="85"/>
                        <a:pt x="1050" y="85"/>
                        <a:pt x="1050" y="85"/>
                      </a:cubicBezTo>
                      <a:cubicBezTo>
                        <a:pt x="1049" y="80"/>
                        <a:pt x="1049" y="80"/>
                        <a:pt x="1049" y="80"/>
                      </a:cubicBezTo>
                      <a:cubicBezTo>
                        <a:pt x="1054" y="78"/>
                        <a:pt x="1054" y="78"/>
                        <a:pt x="1054" y="78"/>
                      </a:cubicBezTo>
                      <a:cubicBezTo>
                        <a:pt x="1053" y="76"/>
                        <a:pt x="1052" y="75"/>
                        <a:pt x="1051" y="74"/>
                      </a:cubicBezTo>
                      <a:cubicBezTo>
                        <a:pt x="1041" y="73"/>
                        <a:pt x="1041" y="73"/>
                        <a:pt x="1041" y="73"/>
                      </a:cubicBezTo>
                      <a:cubicBezTo>
                        <a:pt x="1038" y="75"/>
                        <a:pt x="1035" y="78"/>
                        <a:pt x="1032" y="80"/>
                      </a:cubicBezTo>
                      <a:cubicBezTo>
                        <a:pt x="1031" y="82"/>
                        <a:pt x="1031" y="82"/>
                        <a:pt x="1031" y="82"/>
                      </a:cubicBezTo>
                      <a:cubicBezTo>
                        <a:pt x="1021" y="79"/>
                        <a:pt x="1021" y="79"/>
                        <a:pt x="1021" y="79"/>
                      </a:cubicBezTo>
                      <a:cubicBezTo>
                        <a:pt x="1014" y="78"/>
                        <a:pt x="1014" y="78"/>
                        <a:pt x="1014" y="78"/>
                      </a:cubicBezTo>
                      <a:cubicBezTo>
                        <a:pt x="1011" y="75"/>
                        <a:pt x="1011" y="75"/>
                        <a:pt x="1011" y="75"/>
                      </a:cubicBezTo>
                      <a:cubicBezTo>
                        <a:pt x="1005" y="73"/>
                        <a:pt x="1000" y="71"/>
                        <a:pt x="998" y="69"/>
                      </a:cubicBezTo>
                      <a:cubicBezTo>
                        <a:pt x="992" y="68"/>
                        <a:pt x="992" y="68"/>
                        <a:pt x="992" y="68"/>
                      </a:cubicBezTo>
                      <a:cubicBezTo>
                        <a:pt x="990" y="63"/>
                        <a:pt x="990" y="63"/>
                        <a:pt x="990" y="63"/>
                      </a:cubicBezTo>
                      <a:cubicBezTo>
                        <a:pt x="989" y="62"/>
                        <a:pt x="988" y="61"/>
                        <a:pt x="987" y="60"/>
                      </a:cubicBezTo>
                      <a:cubicBezTo>
                        <a:pt x="982" y="58"/>
                        <a:pt x="982" y="58"/>
                        <a:pt x="982" y="58"/>
                      </a:cubicBezTo>
                      <a:cubicBezTo>
                        <a:pt x="971" y="48"/>
                        <a:pt x="971" y="48"/>
                        <a:pt x="971" y="48"/>
                      </a:cubicBezTo>
                      <a:cubicBezTo>
                        <a:pt x="970" y="45"/>
                        <a:pt x="970" y="45"/>
                        <a:pt x="970" y="45"/>
                      </a:cubicBezTo>
                      <a:cubicBezTo>
                        <a:pt x="970" y="45"/>
                        <a:pt x="969" y="45"/>
                        <a:pt x="969" y="44"/>
                      </a:cubicBezTo>
                      <a:cubicBezTo>
                        <a:pt x="966" y="45"/>
                        <a:pt x="966" y="45"/>
                        <a:pt x="966" y="45"/>
                      </a:cubicBezTo>
                      <a:cubicBezTo>
                        <a:pt x="964" y="42"/>
                        <a:pt x="964" y="42"/>
                        <a:pt x="964" y="42"/>
                      </a:cubicBezTo>
                      <a:cubicBezTo>
                        <a:pt x="963" y="41"/>
                        <a:pt x="962" y="40"/>
                        <a:pt x="960" y="40"/>
                      </a:cubicBezTo>
                      <a:cubicBezTo>
                        <a:pt x="957" y="40"/>
                        <a:pt x="957" y="40"/>
                        <a:pt x="957" y="40"/>
                      </a:cubicBezTo>
                      <a:cubicBezTo>
                        <a:pt x="952" y="37"/>
                        <a:pt x="952" y="37"/>
                        <a:pt x="952" y="37"/>
                      </a:cubicBezTo>
                      <a:cubicBezTo>
                        <a:pt x="954" y="36"/>
                        <a:pt x="954" y="36"/>
                        <a:pt x="954" y="36"/>
                      </a:cubicBezTo>
                      <a:cubicBezTo>
                        <a:pt x="959" y="36"/>
                        <a:pt x="959" y="36"/>
                        <a:pt x="959" y="36"/>
                      </a:cubicBezTo>
                      <a:cubicBezTo>
                        <a:pt x="964" y="35"/>
                        <a:pt x="968" y="34"/>
                        <a:pt x="971" y="34"/>
                      </a:cubicBezTo>
                      <a:cubicBezTo>
                        <a:pt x="976" y="33"/>
                        <a:pt x="976" y="33"/>
                        <a:pt x="976" y="33"/>
                      </a:cubicBezTo>
                      <a:cubicBezTo>
                        <a:pt x="985" y="34"/>
                        <a:pt x="985" y="34"/>
                        <a:pt x="985" y="34"/>
                      </a:cubicBezTo>
                      <a:cubicBezTo>
                        <a:pt x="985" y="40"/>
                        <a:pt x="985" y="40"/>
                        <a:pt x="985" y="40"/>
                      </a:cubicBezTo>
                      <a:cubicBezTo>
                        <a:pt x="986" y="41"/>
                        <a:pt x="987" y="42"/>
                        <a:pt x="988" y="43"/>
                      </a:cubicBezTo>
                      <a:cubicBezTo>
                        <a:pt x="989" y="44"/>
                        <a:pt x="990" y="45"/>
                        <a:pt x="991" y="45"/>
                      </a:cubicBezTo>
                      <a:cubicBezTo>
                        <a:pt x="1000" y="44"/>
                        <a:pt x="1000" y="44"/>
                        <a:pt x="1000" y="44"/>
                      </a:cubicBezTo>
                      <a:cubicBezTo>
                        <a:pt x="1000" y="47"/>
                        <a:pt x="1000" y="47"/>
                        <a:pt x="1000" y="47"/>
                      </a:cubicBezTo>
                      <a:cubicBezTo>
                        <a:pt x="1004" y="47"/>
                        <a:pt x="1007" y="45"/>
                        <a:pt x="1011" y="43"/>
                      </a:cubicBezTo>
                      <a:cubicBezTo>
                        <a:pt x="1012" y="43"/>
                        <a:pt x="1012" y="43"/>
                        <a:pt x="1012" y="43"/>
                      </a:cubicBezTo>
                      <a:cubicBezTo>
                        <a:pt x="1020" y="41"/>
                        <a:pt x="1020" y="41"/>
                        <a:pt x="1020" y="41"/>
                      </a:cubicBezTo>
                      <a:cubicBezTo>
                        <a:pt x="1023" y="42"/>
                        <a:pt x="1023" y="42"/>
                        <a:pt x="1023" y="42"/>
                      </a:cubicBezTo>
                      <a:cubicBezTo>
                        <a:pt x="1025" y="42"/>
                        <a:pt x="1026" y="43"/>
                        <a:pt x="1028" y="44"/>
                      </a:cubicBezTo>
                      <a:cubicBezTo>
                        <a:pt x="1029" y="40"/>
                        <a:pt x="1029" y="40"/>
                        <a:pt x="1029" y="40"/>
                      </a:cubicBezTo>
                      <a:cubicBezTo>
                        <a:pt x="1035" y="39"/>
                        <a:pt x="1035" y="39"/>
                        <a:pt x="1035" y="39"/>
                      </a:cubicBezTo>
                      <a:cubicBezTo>
                        <a:pt x="1038" y="41"/>
                        <a:pt x="1038" y="41"/>
                        <a:pt x="1038" y="41"/>
                      </a:cubicBezTo>
                      <a:cubicBezTo>
                        <a:pt x="1049" y="41"/>
                        <a:pt x="1066" y="44"/>
                        <a:pt x="1077" y="47"/>
                      </a:cubicBezTo>
                      <a:cubicBezTo>
                        <a:pt x="1077" y="47"/>
                        <a:pt x="1077" y="47"/>
                        <a:pt x="1077" y="47"/>
                      </a:cubicBezTo>
                      <a:cubicBezTo>
                        <a:pt x="1082" y="49"/>
                        <a:pt x="1082" y="49"/>
                        <a:pt x="1082" y="49"/>
                      </a:cubicBezTo>
                      <a:cubicBezTo>
                        <a:pt x="1084" y="49"/>
                        <a:pt x="1086" y="50"/>
                        <a:pt x="1088" y="50"/>
                      </a:cubicBezTo>
                      <a:cubicBezTo>
                        <a:pt x="1096" y="49"/>
                        <a:pt x="1096" y="49"/>
                        <a:pt x="1096" y="49"/>
                      </a:cubicBezTo>
                      <a:cubicBezTo>
                        <a:pt x="1104" y="51"/>
                        <a:pt x="1104" y="51"/>
                        <a:pt x="1104" y="51"/>
                      </a:cubicBezTo>
                      <a:cubicBezTo>
                        <a:pt x="1110" y="57"/>
                        <a:pt x="1110" y="57"/>
                        <a:pt x="1110" y="57"/>
                      </a:cubicBezTo>
                      <a:cubicBezTo>
                        <a:pt x="1110" y="57"/>
                        <a:pt x="1110" y="57"/>
                        <a:pt x="1110" y="57"/>
                      </a:cubicBezTo>
                      <a:cubicBezTo>
                        <a:pt x="1111" y="58"/>
                        <a:pt x="1112" y="59"/>
                        <a:pt x="1113" y="59"/>
                      </a:cubicBezTo>
                      <a:cubicBezTo>
                        <a:pt x="1120" y="59"/>
                        <a:pt x="1120" y="59"/>
                        <a:pt x="1120" y="59"/>
                      </a:cubicBezTo>
                      <a:cubicBezTo>
                        <a:pt x="1122" y="60"/>
                        <a:pt x="1122" y="60"/>
                        <a:pt x="1122" y="60"/>
                      </a:cubicBezTo>
                      <a:cubicBezTo>
                        <a:pt x="1124" y="59"/>
                        <a:pt x="1125" y="59"/>
                        <a:pt x="1127" y="60"/>
                      </a:cubicBezTo>
                      <a:cubicBezTo>
                        <a:pt x="1131" y="60"/>
                        <a:pt x="1131" y="60"/>
                        <a:pt x="1131" y="60"/>
                      </a:cubicBezTo>
                      <a:cubicBezTo>
                        <a:pt x="1131" y="65"/>
                        <a:pt x="1131" y="65"/>
                        <a:pt x="1131" y="65"/>
                      </a:cubicBezTo>
                      <a:cubicBezTo>
                        <a:pt x="1135" y="64"/>
                        <a:pt x="1135" y="64"/>
                        <a:pt x="1135" y="64"/>
                      </a:cubicBezTo>
                      <a:cubicBezTo>
                        <a:pt x="1138" y="64"/>
                        <a:pt x="1138" y="64"/>
                        <a:pt x="1138" y="64"/>
                      </a:cubicBezTo>
                      <a:cubicBezTo>
                        <a:pt x="1140" y="66"/>
                        <a:pt x="1140" y="66"/>
                        <a:pt x="1140" y="66"/>
                      </a:cubicBezTo>
                      <a:cubicBezTo>
                        <a:pt x="1146" y="67"/>
                        <a:pt x="1152" y="71"/>
                        <a:pt x="1158" y="72"/>
                      </a:cubicBezTo>
                      <a:cubicBezTo>
                        <a:pt x="1159" y="73"/>
                        <a:pt x="1161" y="73"/>
                        <a:pt x="1162" y="73"/>
                      </a:cubicBezTo>
                      <a:cubicBezTo>
                        <a:pt x="1170" y="71"/>
                        <a:pt x="1170" y="71"/>
                        <a:pt x="1170" y="71"/>
                      </a:cubicBezTo>
                      <a:cubicBezTo>
                        <a:pt x="1171" y="71"/>
                        <a:pt x="1171" y="71"/>
                        <a:pt x="1171" y="71"/>
                      </a:cubicBezTo>
                      <a:cubicBezTo>
                        <a:pt x="1175" y="70"/>
                        <a:pt x="1180" y="68"/>
                        <a:pt x="1184" y="67"/>
                      </a:cubicBezTo>
                      <a:cubicBezTo>
                        <a:pt x="1205" y="75"/>
                        <a:pt x="1227" y="84"/>
                        <a:pt x="1248" y="93"/>
                      </a:cubicBezTo>
                      <a:cubicBezTo>
                        <a:pt x="1246" y="93"/>
                        <a:pt x="1244" y="93"/>
                        <a:pt x="1243" y="93"/>
                      </a:cubicBezTo>
                      <a:cubicBezTo>
                        <a:pt x="1242" y="93"/>
                        <a:pt x="1242" y="93"/>
                        <a:pt x="1242" y="93"/>
                      </a:cubicBezTo>
                      <a:cubicBezTo>
                        <a:pt x="1241" y="93"/>
                        <a:pt x="1241" y="93"/>
                        <a:pt x="1241" y="93"/>
                      </a:cubicBezTo>
                      <a:cubicBezTo>
                        <a:pt x="1237" y="93"/>
                        <a:pt x="1234" y="92"/>
                        <a:pt x="1230" y="91"/>
                      </a:cubicBezTo>
                      <a:cubicBezTo>
                        <a:pt x="1220" y="92"/>
                        <a:pt x="1220" y="92"/>
                        <a:pt x="1220" y="92"/>
                      </a:cubicBezTo>
                      <a:cubicBezTo>
                        <a:pt x="1214" y="88"/>
                        <a:pt x="1214" y="88"/>
                        <a:pt x="1214" y="88"/>
                      </a:cubicBezTo>
                      <a:cubicBezTo>
                        <a:pt x="1210" y="87"/>
                        <a:pt x="1205" y="85"/>
                        <a:pt x="1201" y="84"/>
                      </a:cubicBezTo>
                      <a:cubicBezTo>
                        <a:pt x="1192" y="84"/>
                        <a:pt x="1192" y="84"/>
                        <a:pt x="1192" y="84"/>
                      </a:cubicBezTo>
                      <a:cubicBezTo>
                        <a:pt x="1186" y="82"/>
                        <a:pt x="1186" y="82"/>
                        <a:pt x="1186" y="82"/>
                      </a:cubicBezTo>
                      <a:cubicBezTo>
                        <a:pt x="1166" y="79"/>
                        <a:pt x="1166" y="79"/>
                        <a:pt x="1166" y="79"/>
                      </a:cubicBezTo>
                      <a:cubicBezTo>
                        <a:pt x="1159" y="78"/>
                        <a:pt x="1159" y="78"/>
                        <a:pt x="1159" y="78"/>
                      </a:cubicBezTo>
                      <a:cubicBezTo>
                        <a:pt x="1145" y="76"/>
                        <a:pt x="1145" y="76"/>
                        <a:pt x="1145" y="76"/>
                      </a:cubicBezTo>
                      <a:cubicBezTo>
                        <a:pt x="1135" y="77"/>
                        <a:pt x="1135" y="77"/>
                        <a:pt x="1135" y="77"/>
                      </a:cubicBezTo>
                      <a:cubicBezTo>
                        <a:pt x="1138" y="81"/>
                        <a:pt x="1140" y="82"/>
                        <a:pt x="1143" y="82"/>
                      </a:cubicBezTo>
                      <a:cubicBezTo>
                        <a:pt x="1153" y="82"/>
                        <a:pt x="1153" y="82"/>
                        <a:pt x="1153" y="82"/>
                      </a:cubicBezTo>
                      <a:cubicBezTo>
                        <a:pt x="1156" y="86"/>
                        <a:pt x="1156" y="86"/>
                        <a:pt x="1156" y="86"/>
                      </a:cubicBezTo>
                      <a:cubicBezTo>
                        <a:pt x="1151" y="86"/>
                        <a:pt x="1151" y="86"/>
                        <a:pt x="1151" y="86"/>
                      </a:cubicBezTo>
                      <a:cubicBezTo>
                        <a:pt x="1153" y="88"/>
                        <a:pt x="1155" y="89"/>
                        <a:pt x="1158" y="90"/>
                      </a:cubicBezTo>
                      <a:cubicBezTo>
                        <a:pt x="1162" y="91"/>
                        <a:pt x="1162" y="91"/>
                        <a:pt x="1162" y="91"/>
                      </a:cubicBezTo>
                      <a:cubicBezTo>
                        <a:pt x="1167" y="93"/>
                        <a:pt x="1167" y="93"/>
                        <a:pt x="1167" y="93"/>
                      </a:cubicBezTo>
                      <a:cubicBezTo>
                        <a:pt x="1173" y="94"/>
                        <a:pt x="1178" y="94"/>
                        <a:pt x="1184" y="94"/>
                      </a:cubicBezTo>
                      <a:cubicBezTo>
                        <a:pt x="1184" y="94"/>
                        <a:pt x="1184" y="94"/>
                        <a:pt x="1184" y="94"/>
                      </a:cubicBezTo>
                      <a:cubicBezTo>
                        <a:pt x="1192" y="94"/>
                        <a:pt x="1192" y="94"/>
                        <a:pt x="1192" y="94"/>
                      </a:cubicBezTo>
                      <a:cubicBezTo>
                        <a:pt x="1196" y="92"/>
                        <a:pt x="1196" y="92"/>
                        <a:pt x="1196" y="92"/>
                      </a:cubicBezTo>
                      <a:cubicBezTo>
                        <a:pt x="1202" y="96"/>
                        <a:pt x="1202" y="96"/>
                        <a:pt x="1202" y="96"/>
                      </a:cubicBezTo>
                      <a:cubicBezTo>
                        <a:pt x="1204" y="96"/>
                        <a:pt x="1207" y="96"/>
                        <a:pt x="1209" y="97"/>
                      </a:cubicBezTo>
                      <a:cubicBezTo>
                        <a:pt x="1210" y="97"/>
                        <a:pt x="1210" y="97"/>
                        <a:pt x="1210" y="97"/>
                      </a:cubicBezTo>
                      <a:cubicBezTo>
                        <a:pt x="1210" y="97"/>
                        <a:pt x="1210" y="97"/>
                        <a:pt x="1210" y="97"/>
                      </a:cubicBezTo>
                      <a:cubicBezTo>
                        <a:pt x="1215" y="99"/>
                        <a:pt x="1219" y="101"/>
                        <a:pt x="1220" y="104"/>
                      </a:cubicBezTo>
                      <a:cubicBezTo>
                        <a:pt x="1220" y="104"/>
                        <a:pt x="1220" y="104"/>
                        <a:pt x="1220" y="104"/>
                      </a:cubicBezTo>
                      <a:cubicBezTo>
                        <a:pt x="1220" y="106"/>
                        <a:pt x="1220" y="106"/>
                        <a:pt x="1220" y="106"/>
                      </a:cubicBezTo>
                      <a:cubicBezTo>
                        <a:pt x="1220" y="106"/>
                        <a:pt x="1220" y="107"/>
                        <a:pt x="1220" y="108"/>
                      </a:cubicBezTo>
                      <a:cubicBezTo>
                        <a:pt x="1226" y="111"/>
                        <a:pt x="1226" y="111"/>
                        <a:pt x="1226" y="111"/>
                      </a:cubicBezTo>
                      <a:cubicBezTo>
                        <a:pt x="1229" y="116"/>
                        <a:pt x="1229" y="116"/>
                        <a:pt x="1229" y="116"/>
                      </a:cubicBezTo>
                      <a:cubicBezTo>
                        <a:pt x="1232" y="118"/>
                        <a:pt x="1235" y="120"/>
                        <a:pt x="1239" y="121"/>
                      </a:cubicBezTo>
                      <a:cubicBezTo>
                        <a:pt x="1247" y="126"/>
                        <a:pt x="1247" y="126"/>
                        <a:pt x="1247" y="126"/>
                      </a:cubicBezTo>
                      <a:cubicBezTo>
                        <a:pt x="1252" y="129"/>
                        <a:pt x="1252" y="129"/>
                        <a:pt x="1252" y="129"/>
                      </a:cubicBezTo>
                      <a:cubicBezTo>
                        <a:pt x="1258" y="131"/>
                        <a:pt x="1258" y="131"/>
                        <a:pt x="1258" y="131"/>
                      </a:cubicBezTo>
                      <a:cubicBezTo>
                        <a:pt x="1258" y="135"/>
                        <a:pt x="1258" y="135"/>
                        <a:pt x="1258" y="135"/>
                      </a:cubicBezTo>
                      <a:cubicBezTo>
                        <a:pt x="1259" y="136"/>
                        <a:pt x="1260" y="138"/>
                        <a:pt x="1260" y="139"/>
                      </a:cubicBezTo>
                      <a:cubicBezTo>
                        <a:pt x="1272" y="149"/>
                        <a:pt x="1272" y="149"/>
                        <a:pt x="1272" y="149"/>
                      </a:cubicBezTo>
                      <a:cubicBezTo>
                        <a:pt x="1273" y="150"/>
                        <a:pt x="1275" y="150"/>
                        <a:pt x="1277" y="150"/>
                      </a:cubicBezTo>
                      <a:cubicBezTo>
                        <a:pt x="1282" y="151"/>
                        <a:pt x="1282" y="151"/>
                        <a:pt x="1282" y="151"/>
                      </a:cubicBezTo>
                      <a:cubicBezTo>
                        <a:pt x="1290" y="154"/>
                        <a:pt x="1290" y="154"/>
                        <a:pt x="1290" y="154"/>
                      </a:cubicBezTo>
                      <a:cubicBezTo>
                        <a:pt x="1293" y="157"/>
                        <a:pt x="1293" y="157"/>
                        <a:pt x="1293" y="157"/>
                      </a:cubicBezTo>
                      <a:cubicBezTo>
                        <a:pt x="1296" y="159"/>
                        <a:pt x="1299" y="161"/>
                        <a:pt x="1302" y="163"/>
                      </a:cubicBezTo>
                      <a:cubicBezTo>
                        <a:pt x="1306" y="162"/>
                        <a:pt x="1306" y="162"/>
                        <a:pt x="1306" y="162"/>
                      </a:cubicBezTo>
                      <a:cubicBezTo>
                        <a:pt x="1314" y="168"/>
                        <a:pt x="1314" y="168"/>
                        <a:pt x="1314" y="168"/>
                      </a:cubicBezTo>
                      <a:cubicBezTo>
                        <a:pt x="1315" y="169"/>
                        <a:pt x="1317" y="169"/>
                        <a:pt x="1318" y="169"/>
                      </a:cubicBezTo>
                      <a:cubicBezTo>
                        <a:pt x="1321" y="169"/>
                        <a:pt x="1321" y="169"/>
                        <a:pt x="1321" y="169"/>
                      </a:cubicBezTo>
                      <a:cubicBezTo>
                        <a:pt x="1323" y="172"/>
                        <a:pt x="1323" y="172"/>
                        <a:pt x="1323" y="172"/>
                      </a:cubicBezTo>
                      <a:cubicBezTo>
                        <a:pt x="1327" y="176"/>
                        <a:pt x="1331" y="184"/>
                        <a:pt x="1335" y="187"/>
                      </a:cubicBezTo>
                      <a:cubicBezTo>
                        <a:pt x="1339" y="184"/>
                        <a:pt x="1339" y="184"/>
                        <a:pt x="1339" y="184"/>
                      </a:cubicBezTo>
                      <a:cubicBezTo>
                        <a:pt x="1345" y="185"/>
                        <a:pt x="1345" y="185"/>
                        <a:pt x="1345" y="185"/>
                      </a:cubicBezTo>
                      <a:cubicBezTo>
                        <a:pt x="1345" y="185"/>
                        <a:pt x="1346" y="185"/>
                        <a:pt x="1346" y="185"/>
                      </a:cubicBezTo>
                      <a:cubicBezTo>
                        <a:pt x="1346" y="185"/>
                        <a:pt x="1346" y="185"/>
                        <a:pt x="1346" y="185"/>
                      </a:cubicBezTo>
                      <a:cubicBezTo>
                        <a:pt x="1347" y="184"/>
                        <a:pt x="1347" y="184"/>
                        <a:pt x="1347" y="183"/>
                      </a:cubicBezTo>
                      <a:cubicBezTo>
                        <a:pt x="1344" y="178"/>
                        <a:pt x="1344" y="178"/>
                        <a:pt x="1344" y="178"/>
                      </a:cubicBezTo>
                      <a:cubicBezTo>
                        <a:pt x="1344" y="177"/>
                        <a:pt x="1343" y="176"/>
                        <a:pt x="1343" y="175"/>
                      </a:cubicBezTo>
                      <a:cubicBezTo>
                        <a:pt x="1343" y="175"/>
                        <a:pt x="1343" y="175"/>
                        <a:pt x="1343" y="175"/>
                      </a:cubicBezTo>
                      <a:cubicBezTo>
                        <a:pt x="1344" y="174"/>
                        <a:pt x="1344" y="174"/>
                        <a:pt x="1344" y="174"/>
                      </a:cubicBezTo>
                      <a:cubicBezTo>
                        <a:pt x="1346" y="173"/>
                        <a:pt x="1346" y="173"/>
                        <a:pt x="1346" y="173"/>
                      </a:cubicBezTo>
                      <a:cubicBezTo>
                        <a:pt x="1346" y="173"/>
                        <a:pt x="1346" y="173"/>
                        <a:pt x="1346" y="173"/>
                      </a:cubicBezTo>
                      <a:cubicBezTo>
                        <a:pt x="1350" y="173"/>
                        <a:pt x="1353" y="172"/>
                        <a:pt x="1356" y="172"/>
                      </a:cubicBezTo>
                      <a:cubicBezTo>
                        <a:pt x="1359" y="172"/>
                        <a:pt x="1359" y="172"/>
                        <a:pt x="1359" y="172"/>
                      </a:cubicBezTo>
                      <a:cubicBezTo>
                        <a:pt x="1362" y="175"/>
                        <a:pt x="1362" y="175"/>
                        <a:pt x="1362" y="175"/>
                      </a:cubicBezTo>
                      <a:cubicBezTo>
                        <a:pt x="1362" y="175"/>
                        <a:pt x="1362" y="175"/>
                        <a:pt x="1362" y="175"/>
                      </a:cubicBezTo>
                      <a:cubicBezTo>
                        <a:pt x="1364" y="176"/>
                        <a:pt x="1366" y="176"/>
                        <a:pt x="1368" y="176"/>
                      </a:cubicBezTo>
                      <a:cubicBezTo>
                        <a:pt x="1371" y="175"/>
                        <a:pt x="1371" y="175"/>
                        <a:pt x="1371" y="175"/>
                      </a:cubicBezTo>
                      <a:cubicBezTo>
                        <a:pt x="1373" y="176"/>
                        <a:pt x="1373" y="176"/>
                        <a:pt x="1373" y="176"/>
                      </a:cubicBezTo>
                      <a:cubicBezTo>
                        <a:pt x="1375" y="175"/>
                        <a:pt x="1376" y="175"/>
                        <a:pt x="1378" y="176"/>
                      </a:cubicBezTo>
                      <a:cubicBezTo>
                        <a:pt x="1379" y="176"/>
                        <a:pt x="1379" y="176"/>
                        <a:pt x="1379" y="176"/>
                      </a:cubicBezTo>
                      <a:cubicBezTo>
                        <a:pt x="1381" y="178"/>
                        <a:pt x="1381" y="178"/>
                        <a:pt x="1381" y="178"/>
                      </a:cubicBezTo>
                      <a:cubicBezTo>
                        <a:pt x="1382" y="179"/>
                        <a:pt x="1383" y="180"/>
                        <a:pt x="1384" y="181"/>
                      </a:cubicBezTo>
                      <a:cubicBezTo>
                        <a:pt x="1387" y="181"/>
                        <a:pt x="1387" y="181"/>
                        <a:pt x="1387" y="181"/>
                      </a:cubicBezTo>
                      <a:cubicBezTo>
                        <a:pt x="1393" y="188"/>
                        <a:pt x="1393" y="188"/>
                        <a:pt x="1393" y="188"/>
                      </a:cubicBezTo>
                      <a:cubicBezTo>
                        <a:pt x="1397" y="192"/>
                        <a:pt x="1402" y="194"/>
                        <a:pt x="1407" y="196"/>
                      </a:cubicBezTo>
                      <a:cubicBezTo>
                        <a:pt x="1413" y="196"/>
                        <a:pt x="1413" y="196"/>
                        <a:pt x="1413" y="196"/>
                      </a:cubicBezTo>
                      <a:cubicBezTo>
                        <a:pt x="1416" y="198"/>
                        <a:pt x="1416" y="198"/>
                        <a:pt x="1416" y="198"/>
                      </a:cubicBezTo>
                      <a:cubicBezTo>
                        <a:pt x="1419" y="199"/>
                        <a:pt x="1422" y="201"/>
                        <a:pt x="1425" y="203"/>
                      </a:cubicBezTo>
                      <a:cubicBezTo>
                        <a:pt x="1426" y="203"/>
                        <a:pt x="1426" y="203"/>
                        <a:pt x="1426" y="203"/>
                      </a:cubicBezTo>
                      <a:cubicBezTo>
                        <a:pt x="1428" y="206"/>
                        <a:pt x="1428" y="206"/>
                        <a:pt x="1428" y="206"/>
                      </a:cubicBezTo>
                      <a:cubicBezTo>
                        <a:pt x="1428" y="206"/>
                        <a:pt x="1428" y="206"/>
                        <a:pt x="1428" y="206"/>
                      </a:cubicBezTo>
                      <a:cubicBezTo>
                        <a:pt x="1430" y="209"/>
                        <a:pt x="1432" y="211"/>
                        <a:pt x="1435" y="213"/>
                      </a:cubicBezTo>
                      <a:cubicBezTo>
                        <a:pt x="1435" y="213"/>
                        <a:pt x="1435" y="213"/>
                        <a:pt x="1435" y="213"/>
                      </a:cubicBezTo>
                      <a:cubicBezTo>
                        <a:pt x="1436" y="214"/>
                        <a:pt x="1437" y="215"/>
                        <a:pt x="1439" y="216"/>
                      </a:cubicBezTo>
                      <a:cubicBezTo>
                        <a:pt x="1443" y="216"/>
                        <a:pt x="1443" y="216"/>
                        <a:pt x="1443" y="216"/>
                      </a:cubicBezTo>
                      <a:cubicBezTo>
                        <a:pt x="1444" y="217"/>
                        <a:pt x="1445" y="218"/>
                        <a:pt x="1447" y="219"/>
                      </a:cubicBezTo>
                      <a:cubicBezTo>
                        <a:pt x="1447" y="220"/>
                        <a:pt x="1447" y="220"/>
                        <a:pt x="1447" y="220"/>
                      </a:cubicBezTo>
                      <a:cubicBezTo>
                        <a:pt x="1447" y="220"/>
                        <a:pt x="1448" y="220"/>
                        <a:pt x="1448" y="221"/>
                      </a:cubicBezTo>
                      <a:cubicBezTo>
                        <a:pt x="1464" y="234"/>
                        <a:pt x="1480" y="249"/>
                        <a:pt x="1495" y="264"/>
                      </a:cubicBezTo>
                      <a:cubicBezTo>
                        <a:pt x="1496" y="265"/>
                        <a:pt x="1496" y="265"/>
                        <a:pt x="1496" y="265"/>
                      </a:cubicBezTo>
                      <a:cubicBezTo>
                        <a:pt x="1497" y="267"/>
                        <a:pt x="1498" y="268"/>
                        <a:pt x="1499" y="270"/>
                      </a:cubicBezTo>
                      <a:cubicBezTo>
                        <a:pt x="1499" y="270"/>
                        <a:pt x="1499" y="270"/>
                        <a:pt x="1499" y="270"/>
                      </a:cubicBezTo>
                      <a:cubicBezTo>
                        <a:pt x="1500" y="273"/>
                        <a:pt x="1500" y="273"/>
                        <a:pt x="1500" y="273"/>
                      </a:cubicBezTo>
                      <a:cubicBezTo>
                        <a:pt x="1500" y="274"/>
                        <a:pt x="1501" y="275"/>
                        <a:pt x="1501" y="276"/>
                      </a:cubicBezTo>
                      <a:cubicBezTo>
                        <a:pt x="1505" y="280"/>
                        <a:pt x="1505" y="280"/>
                        <a:pt x="1505" y="280"/>
                      </a:cubicBezTo>
                      <a:cubicBezTo>
                        <a:pt x="1506" y="284"/>
                        <a:pt x="1506" y="284"/>
                        <a:pt x="1506" y="284"/>
                      </a:cubicBezTo>
                      <a:cubicBezTo>
                        <a:pt x="1506" y="285"/>
                        <a:pt x="1506" y="285"/>
                        <a:pt x="1507" y="286"/>
                      </a:cubicBezTo>
                      <a:cubicBezTo>
                        <a:pt x="1510" y="288"/>
                        <a:pt x="1510" y="288"/>
                        <a:pt x="1510" y="288"/>
                      </a:cubicBezTo>
                      <a:cubicBezTo>
                        <a:pt x="1511" y="292"/>
                        <a:pt x="1511" y="292"/>
                        <a:pt x="1511" y="292"/>
                      </a:cubicBezTo>
                      <a:cubicBezTo>
                        <a:pt x="1512" y="294"/>
                        <a:pt x="1514" y="295"/>
                        <a:pt x="1515" y="297"/>
                      </a:cubicBezTo>
                      <a:cubicBezTo>
                        <a:pt x="1517" y="298"/>
                        <a:pt x="1517" y="298"/>
                        <a:pt x="1517" y="298"/>
                      </a:cubicBezTo>
                      <a:cubicBezTo>
                        <a:pt x="1521" y="300"/>
                        <a:pt x="1521" y="300"/>
                        <a:pt x="1521" y="300"/>
                      </a:cubicBezTo>
                      <a:cubicBezTo>
                        <a:pt x="1528" y="307"/>
                        <a:pt x="1528" y="307"/>
                        <a:pt x="1528" y="307"/>
                      </a:cubicBezTo>
                      <a:cubicBezTo>
                        <a:pt x="1530" y="313"/>
                        <a:pt x="1530" y="313"/>
                        <a:pt x="1530" y="313"/>
                      </a:cubicBezTo>
                      <a:cubicBezTo>
                        <a:pt x="1534" y="318"/>
                        <a:pt x="1534" y="318"/>
                        <a:pt x="1534" y="318"/>
                      </a:cubicBezTo>
                      <a:cubicBezTo>
                        <a:pt x="1541" y="323"/>
                        <a:pt x="1541" y="323"/>
                        <a:pt x="1541" y="323"/>
                      </a:cubicBezTo>
                      <a:cubicBezTo>
                        <a:pt x="1547" y="328"/>
                        <a:pt x="1547" y="328"/>
                        <a:pt x="1547" y="328"/>
                      </a:cubicBezTo>
                      <a:cubicBezTo>
                        <a:pt x="1551" y="330"/>
                        <a:pt x="1554" y="332"/>
                        <a:pt x="1557" y="334"/>
                      </a:cubicBezTo>
                      <a:cubicBezTo>
                        <a:pt x="1560" y="334"/>
                        <a:pt x="1560" y="334"/>
                        <a:pt x="1560" y="334"/>
                      </a:cubicBezTo>
                      <a:cubicBezTo>
                        <a:pt x="1570" y="346"/>
                        <a:pt x="1579" y="358"/>
                        <a:pt x="1589" y="371"/>
                      </a:cubicBezTo>
                      <a:cubicBezTo>
                        <a:pt x="1587" y="371"/>
                        <a:pt x="1587" y="371"/>
                        <a:pt x="1587" y="371"/>
                      </a:cubicBezTo>
                      <a:cubicBezTo>
                        <a:pt x="1584" y="367"/>
                        <a:pt x="1584" y="367"/>
                        <a:pt x="1584" y="367"/>
                      </a:cubicBezTo>
                      <a:cubicBezTo>
                        <a:pt x="1581" y="365"/>
                        <a:pt x="1579" y="363"/>
                        <a:pt x="1577" y="361"/>
                      </a:cubicBezTo>
                      <a:cubicBezTo>
                        <a:pt x="1575" y="361"/>
                        <a:pt x="1575" y="361"/>
                        <a:pt x="1575" y="361"/>
                      </a:cubicBezTo>
                      <a:cubicBezTo>
                        <a:pt x="1574" y="358"/>
                        <a:pt x="1574" y="358"/>
                        <a:pt x="1574" y="358"/>
                      </a:cubicBezTo>
                      <a:cubicBezTo>
                        <a:pt x="1572" y="356"/>
                        <a:pt x="1570" y="355"/>
                        <a:pt x="1568" y="353"/>
                      </a:cubicBezTo>
                      <a:cubicBezTo>
                        <a:pt x="1568" y="353"/>
                        <a:pt x="1568" y="353"/>
                        <a:pt x="1568" y="353"/>
                      </a:cubicBezTo>
                      <a:cubicBezTo>
                        <a:pt x="1563" y="353"/>
                        <a:pt x="1563" y="353"/>
                        <a:pt x="1563" y="353"/>
                      </a:cubicBezTo>
                      <a:cubicBezTo>
                        <a:pt x="1561" y="348"/>
                        <a:pt x="1561" y="348"/>
                        <a:pt x="1561" y="348"/>
                      </a:cubicBezTo>
                      <a:cubicBezTo>
                        <a:pt x="1558" y="346"/>
                        <a:pt x="1558" y="346"/>
                        <a:pt x="1558" y="346"/>
                      </a:cubicBezTo>
                      <a:cubicBezTo>
                        <a:pt x="1557" y="346"/>
                        <a:pt x="1556" y="345"/>
                        <a:pt x="1555" y="345"/>
                      </a:cubicBezTo>
                      <a:cubicBezTo>
                        <a:pt x="1548" y="345"/>
                        <a:pt x="1548" y="345"/>
                        <a:pt x="1548" y="345"/>
                      </a:cubicBezTo>
                      <a:cubicBezTo>
                        <a:pt x="1550" y="348"/>
                        <a:pt x="1551" y="350"/>
                        <a:pt x="1552" y="352"/>
                      </a:cubicBezTo>
                      <a:cubicBezTo>
                        <a:pt x="1557" y="358"/>
                        <a:pt x="1557" y="358"/>
                        <a:pt x="1557" y="358"/>
                      </a:cubicBezTo>
                      <a:cubicBezTo>
                        <a:pt x="1557" y="363"/>
                        <a:pt x="1557" y="363"/>
                        <a:pt x="1557" y="363"/>
                      </a:cubicBezTo>
                      <a:cubicBezTo>
                        <a:pt x="1558" y="364"/>
                        <a:pt x="1558" y="365"/>
                        <a:pt x="1558" y="366"/>
                      </a:cubicBezTo>
                      <a:cubicBezTo>
                        <a:pt x="1563" y="372"/>
                        <a:pt x="1563" y="372"/>
                        <a:pt x="1563" y="372"/>
                      </a:cubicBezTo>
                      <a:cubicBezTo>
                        <a:pt x="1562" y="374"/>
                        <a:pt x="1562" y="374"/>
                        <a:pt x="1562" y="374"/>
                      </a:cubicBezTo>
                      <a:cubicBezTo>
                        <a:pt x="1561" y="373"/>
                        <a:pt x="1560" y="373"/>
                        <a:pt x="1559" y="372"/>
                      </a:cubicBezTo>
                      <a:cubicBezTo>
                        <a:pt x="1556" y="371"/>
                        <a:pt x="1556" y="371"/>
                        <a:pt x="1556" y="371"/>
                      </a:cubicBezTo>
                      <a:cubicBezTo>
                        <a:pt x="1554" y="368"/>
                        <a:pt x="1554" y="368"/>
                        <a:pt x="1554" y="368"/>
                      </a:cubicBezTo>
                      <a:cubicBezTo>
                        <a:pt x="1552" y="365"/>
                        <a:pt x="1551" y="362"/>
                        <a:pt x="1550" y="358"/>
                      </a:cubicBezTo>
                      <a:cubicBezTo>
                        <a:pt x="1547" y="361"/>
                        <a:pt x="1547" y="361"/>
                        <a:pt x="1547" y="361"/>
                      </a:cubicBezTo>
                      <a:cubicBezTo>
                        <a:pt x="1553" y="373"/>
                        <a:pt x="1553" y="373"/>
                        <a:pt x="1553" y="373"/>
                      </a:cubicBezTo>
                      <a:cubicBezTo>
                        <a:pt x="1560" y="378"/>
                        <a:pt x="1560" y="378"/>
                        <a:pt x="1560" y="378"/>
                      </a:cubicBezTo>
                      <a:cubicBezTo>
                        <a:pt x="1562" y="387"/>
                        <a:pt x="1562" y="387"/>
                        <a:pt x="1562" y="387"/>
                      </a:cubicBezTo>
                      <a:cubicBezTo>
                        <a:pt x="1568" y="396"/>
                        <a:pt x="1568" y="396"/>
                        <a:pt x="1568" y="396"/>
                      </a:cubicBezTo>
                      <a:cubicBezTo>
                        <a:pt x="1568" y="404"/>
                        <a:pt x="1568" y="404"/>
                        <a:pt x="1568" y="404"/>
                      </a:cubicBezTo>
                      <a:cubicBezTo>
                        <a:pt x="1569" y="406"/>
                        <a:pt x="1570" y="408"/>
                        <a:pt x="1572" y="409"/>
                      </a:cubicBezTo>
                      <a:cubicBezTo>
                        <a:pt x="1575" y="410"/>
                        <a:pt x="1575" y="410"/>
                        <a:pt x="1575" y="410"/>
                      </a:cubicBezTo>
                      <a:cubicBezTo>
                        <a:pt x="1578" y="406"/>
                        <a:pt x="1578" y="406"/>
                        <a:pt x="1578" y="406"/>
                      </a:cubicBezTo>
                      <a:cubicBezTo>
                        <a:pt x="1581" y="407"/>
                        <a:pt x="1581" y="407"/>
                        <a:pt x="1581" y="407"/>
                      </a:cubicBezTo>
                      <a:cubicBezTo>
                        <a:pt x="1582" y="404"/>
                        <a:pt x="1581" y="401"/>
                        <a:pt x="1581" y="398"/>
                      </a:cubicBezTo>
                      <a:cubicBezTo>
                        <a:pt x="1577" y="395"/>
                        <a:pt x="1577" y="395"/>
                        <a:pt x="1577" y="395"/>
                      </a:cubicBezTo>
                      <a:cubicBezTo>
                        <a:pt x="1578" y="391"/>
                        <a:pt x="1578" y="391"/>
                        <a:pt x="1578" y="391"/>
                      </a:cubicBezTo>
                      <a:cubicBezTo>
                        <a:pt x="1580" y="384"/>
                        <a:pt x="1580" y="384"/>
                        <a:pt x="1580" y="384"/>
                      </a:cubicBezTo>
                      <a:cubicBezTo>
                        <a:pt x="1582" y="383"/>
                        <a:pt x="1582" y="383"/>
                        <a:pt x="1582" y="383"/>
                      </a:cubicBezTo>
                      <a:cubicBezTo>
                        <a:pt x="1583" y="392"/>
                        <a:pt x="1583" y="392"/>
                        <a:pt x="1583" y="392"/>
                      </a:cubicBezTo>
                      <a:cubicBezTo>
                        <a:pt x="1590" y="401"/>
                        <a:pt x="1590" y="401"/>
                        <a:pt x="1590" y="401"/>
                      </a:cubicBezTo>
                      <a:cubicBezTo>
                        <a:pt x="1593" y="408"/>
                        <a:pt x="1593" y="408"/>
                        <a:pt x="1593" y="408"/>
                      </a:cubicBezTo>
                      <a:cubicBezTo>
                        <a:pt x="1597" y="411"/>
                        <a:pt x="1602" y="414"/>
                        <a:pt x="1606" y="417"/>
                      </a:cubicBezTo>
                      <a:cubicBezTo>
                        <a:pt x="1609" y="418"/>
                        <a:pt x="1609" y="418"/>
                        <a:pt x="1609" y="418"/>
                      </a:cubicBezTo>
                      <a:cubicBezTo>
                        <a:pt x="1622" y="427"/>
                        <a:pt x="1622" y="427"/>
                        <a:pt x="1622" y="427"/>
                      </a:cubicBezTo>
                      <a:cubicBezTo>
                        <a:pt x="1626" y="431"/>
                        <a:pt x="1626" y="431"/>
                        <a:pt x="1626" y="431"/>
                      </a:cubicBezTo>
                      <a:cubicBezTo>
                        <a:pt x="1630" y="440"/>
                        <a:pt x="1630" y="440"/>
                        <a:pt x="1630" y="440"/>
                      </a:cubicBezTo>
                      <a:cubicBezTo>
                        <a:pt x="1631" y="442"/>
                        <a:pt x="1632" y="444"/>
                        <a:pt x="1632" y="446"/>
                      </a:cubicBezTo>
                      <a:cubicBezTo>
                        <a:pt x="1633" y="443"/>
                        <a:pt x="1633" y="441"/>
                        <a:pt x="1633" y="437"/>
                      </a:cubicBezTo>
                      <a:cubicBezTo>
                        <a:pt x="1650" y="465"/>
                        <a:pt x="1665" y="494"/>
                        <a:pt x="1679" y="523"/>
                      </a:cubicBezTo>
                      <a:cubicBezTo>
                        <a:pt x="1679" y="526"/>
                        <a:pt x="1679" y="526"/>
                        <a:pt x="1679" y="526"/>
                      </a:cubicBezTo>
                      <a:cubicBezTo>
                        <a:pt x="1681" y="528"/>
                        <a:pt x="1681" y="528"/>
                        <a:pt x="1681" y="528"/>
                      </a:cubicBezTo>
                      <a:cubicBezTo>
                        <a:pt x="1689" y="546"/>
                        <a:pt x="1697" y="564"/>
                        <a:pt x="1703" y="582"/>
                      </a:cubicBezTo>
                      <a:cubicBezTo>
                        <a:pt x="1703" y="582"/>
                        <a:pt x="1703" y="582"/>
                        <a:pt x="1703" y="582"/>
                      </a:cubicBezTo>
                      <a:cubicBezTo>
                        <a:pt x="1703" y="582"/>
                        <a:pt x="1703" y="582"/>
                        <a:pt x="1703" y="582"/>
                      </a:cubicBezTo>
                      <a:cubicBezTo>
                        <a:pt x="1705" y="586"/>
                        <a:pt x="1706" y="589"/>
                        <a:pt x="1707" y="593"/>
                      </a:cubicBezTo>
                      <a:cubicBezTo>
                        <a:pt x="1707" y="598"/>
                        <a:pt x="1707" y="598"/>
                        <a:pt x="1707" y="598"/>
                      </a:cubicBezTo>
                      <a:cubicBezTo>
                        <a:pt x="1708" y="600"/>
                        <a:pt x="1708" y="603"/>
                        <a:pt x="1708" y="605"/>
                      </a:cubicBezTo>
                      <a:cubicBezTo>
                        <a:pt x="1710" y="608"/>
                        <a:pt x="1710" y="608"/>
                        <a:pt x="1710" y="608"/>
                      </a:cubicBezTo>
                      <a:cubicBezTo>
                        <a:pt x="1710" y="625"/>
                        <a:pt x="1710" y="625"/>
                        <a:pt x="1710" y="625"/>
                      </a:cubicBezTo>
                      <a:cubicBezTo>
                        <a:pt x="1710" y="626"/>
                        <a:pt x="1711" y="627"/>
                        <a:pt x="1712" y="628"/>
                      </a:cubicBezTo>
                      <a:cubicBezTo>
                        <a:pt x="1712" y="628"/>
                        <a:pt x="1712" y="628"/>
                        <a:pt x="1712" y="628"/>
                      </a:cubicBezTo>
                      <a:cubicBezTo>
                        <a:pt x="1714" y="630"/>
                        <a:pt x="1714" y="630"/>
                        <a:pt x="1714" y="630"/>
                      </a:cubicBezTo>
                      <a:cubicBezTo>
                        <a:pt x="1714" y="631"/>
                        <a:pt x="1714" y="631"/>
                        <a:pt x="1714" y="631"/>
                      </a:cubicBezTo>
                      <a:cubicBezTo>
                        <a:pt x="1715" y="634"/>
                        <a:pt x="1716" y="636"/>
                        <a:pt x="1716" y="639"/>
                      </a:cubicBezTo>
                      <a:cubicBezTo>
                        <a:pt x="1717" y="640"/>
                        <a:pt x="1717" y="640"/>
                        <a:pt x="1717" y="640"/>
                      </a:cubicBezTo>
                      <a:cubicBezTo>
                        <a:pt x="1717" y="645"/>
                        <a:pt x="1717" y="645"/>
                        <a:pt x="1717" y="645"/>
                      </a:cubicBezTo>
                      <a:cubicBezTo>
                        <a:pt x="1717" y="648"/>
                        <a:pt x="1717" y="650"/>
                        <a:pt x="1716" y="651"/>
                      </a:cubicBezTo>
                      <a:cubicBezTo>
                        <a:pt x="1713" y="651"/>
                        <a:pt x="1711" y="652"/>
                        <a:pt x="1711" y="655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1" y="658"/>
                        <a:pt x="1711" y="658"/>
                        <a:pt x="1711" y="658"/>
                      </a:cubicBezTo>
                      <a:cubicBezTo>
                        <a:pt x="1713" y="667"/>
                        <a:pt x="1713" y="667"/>
                        <a:pt x="1713" y="667"/>
                      </a:cubicBezTo>
                      <a:cubicBezTo>
                        <a:pt x="1712" y="671"/>
                        <a:pt x="1712" y="671"/>
                        <a:pt x="1712" y="671"/>
                      </a:cubicBezTo>
                      <a:cubicBezTo>
                        <a:pt x="1713" y="675"/>
                        <a:pt x="1714" y="679"/>
                        <a:pt x="1714" y="681"/>
                      </a:cubicBezTo>
                      <a:cubicBezTo>
                        <a:pt x="1715" y="682"/>
                        <a:pt x="1715" y="682"/>
                        <a:pt x="1715" y="682"/>
                      </a:cubicBezTo>
                      <a:cubicBezTo>
                        <a:pt x="1715" y="684"/>
                        <a:pt x="1715" y="684"/>
                        <a:pt x="1715" y="684"/>
                      </a:cubicBezTo>
                      <a:cubicBezTo>
                        <a:pt x="1715" y="684"/>
                        <a:pt x="1715" y="684"/>
                        <a:pt x="1715" y="684"/>
                      </a:cubicBezTo>
                      <a:cubicBezTo>
                        <a:pt x="1716" y="687"/>
                        <a:pt x="1716" y="689"/>
                        <a:pt x="1717" y="691"/>
                      </a:cubicBezTo>
                      <a:cubicBezTo>
                        <a:pt x="1720" y="695"/>
                        <a:pt x="1720" y="695"/>
                        <a:pt x="1720" y="695"/>
                      </a:cubicBezTo>
                      <a:cubicBezTo>
                        <a:pt x="1720" y="699"/>
                        <a:pt x="1720" y="699"/>
                        <a:pt x="1720" y="699"/>
                      </a:cubicBezTo>
                      <a:cubicBezTo>
                        <a:pt x="1723" y="707"/>
                        <a:pt x="1727" y="713"/>
                        <a:pt x="1734" y="719"/>
                      </a:cubicBezTo>
                      <a:cubicBezTo>
                        <a:pt x="1734" y="719"/>
                        <a:pt x="1734" y="719"/>
                        <a:pt x="1734" y="719"/>
                      </a:cubicBezTo>
                      <a:cubicBezTo>
                        <a:pt x="1736" y="721"/>
                        <a:pt x="1737" y="722"/>
                        <a:pt x="1739" y="723"/>
                      </a:cubicBezTo>
                      <a:cubicBezTo>
                        <a:pt x="1743" y="727"/>
                        <a:pt x="1743" y="727"/>
                        <a:pt x="1743" y="727"/>
                      </a:cubicBezTo>
                      <a:cubicBezTo>
                        <a:pt x="1748" y="754"/>
                        <a:pt x="1752" y="781"/>
                        <a:pt x="1755" y="809"/>
                      </a:cubicBezTo>
                      <a:cubicBezTo>
                        <a:pt x="1754" y="809"/>
                        <a:pt x="1753" y="809"/>
                        <a:pt x="1753" y="808"/>
                      </a:cubicBezTo>
                      <a:cubicBezTo>
                        <a:pt x="1752" y="810"/>
                        <a:pt x="1752" y="810"/>
                        <a:pt x="1752" y="810"/>
                      </a:cubicBezTo>
                      <a:cubicBezTo>
                        <a:pt x="1745" y="808"/>
                        <a:pt x="1745" y="808"/>
                        <a:pt x="1745" y="808"/>
                      </a:cubicBezTo>
                      <a:cubicBezTo>
                        <a:pt x="1745" y="811"/>
                        <a:pt x="1745" y="811"/>
                        <a:pt x="1745" y="811"/>
                      </a:cubicBezTo>
                      <a:cubicBezTo>
                        <a:pt x="1743" y="811"/>
                        <a:pt x="1743" y="811"/>
                        <a:pt x="1743" y="811"/>
                      </a:cubicBezTo>
                      <a:cubicBezTo>
                        <a:pt x="1740" y="809"/>
                        <a:pt x="1740" y="809"/>
                        <a:pt x="1740" y="809"/>
                      </a:cubicBezTo>
                      <a:cubicBezTo>
                        <a:pt x="1735" y="810"/>
                        <a:pt x="1731" y="811"/>
                        <a:pt x="1735" y="819"/>
                      </a:cubicBezTo>
                      <a:cubicBezTo>
                        <a:pt x="1737" y="823"/>
                        <a:pt x="1737" y="823"/>
                        <a:pt x="1737" y="823"/>
                      </a:cubicBezTo>
                      <a:cubicBezTo>
                        <a:pt x="1737" y="827"/>
                        <a:pt x="1737" y="827"/>
                        <a:pt x="1737" y="827"/>
                      </a:cubicBezTo>
                      <a:cubicBezTo>
                        <a:pt x="1738" y="828"/>
                        <a:pt x="1738" y="830"/>
                        <a:pt x="1738" y="831"/>
                      </a:cubicBezTo>
                      <a:cubicBezTo>
                        <a:pt x="1739" y="838"/>
                        <a:pt x="1739" y="838"/>
                        <a:pt x="1739" y="838"/>
                      </a:cubicBezTo>
                      <a:cubicBezTo>
                        <a:pt x="1740" y="856"/>
                        <a:pt x="1740" y="856"/>
                        <a:pt x="1740" y="856"/>
                      </a:cubicBezTo>
                      <a:cubicBezTo>
                        <a:pt x="1740" y="858"/>
                        <a:pt x="1741" y="860"/>
                        <a:pt x="1742" y="861"/>
                      </a:cubicBezTo>
                      <a:cubicBezTo>
                        <a:pt x="1742" y="861"/>
                        <a:pt x="1742" y="861"/>
                        <a:pt x="1742" y="861"/>
                      </a:cubicBezTo>
                      <a:cubicBezTo>
                        <a:pt x="1744" y="865"/>
                        <a:pt x="1744" y="865"/>
                        <a:pt x="1744" y="865"/>
                      </a:cubicBezTo>
                      <a:cubicBezTo>
                        <a:pt x="1744" y="866"/>
                        <a:pt x="1744" y="866"/>
                        <a:pt x="1744" y="866"/>
                      </a:cubicBezTo>
                      <a:cubicBezTo>
                        <a:pt x="1745" y="870"/>
                        <a:pt x="1745" y="874"/>
                        <a:pt x="1746" y="878"/>
                      </a:cubicBezTo>
                      <a:cubicBezTo>
                        <a:pt x="1749" y="882"/>
                        <a:pt x="1749" y="882"/>
                        <a:pt x="1749" y="882"/>
                      </a:cubicBezTo>
                      <a:cubicBezTo>
                        <a:pt x="1750" y="890"/>
                        <a:pt x="1750" y="890"/>
                        <a:pt x="1750" y="890"/>
                      </a:cubicBezTo>
                      <a:cubicBezTo>
                        <a:pt x="1751" y="891"/>
                        <a:pt x="1751" y="892"/>
                        <a:pt x="1752" y="892"/>
                      </a:cubicBezTo>
                      <a:cubicBezTo>
                        <a:pt x="1752" y="892"/>
                        <a:pt x="1752" y="892"/>
                        <a:pt x="1752" y="892"/>
                      </a:cubicBezTo>
                      <a:cubicBezTo>
                        <a:pt x="1753" y="894"/>
                        <a:pt x="1753" y="894"/>
                        <a:pt x="1753" y="894"/>
                      </a:cubicBezTo>
                      <a:cubicBezTo>
                        <a:pt x="1755" y="896"/>
                        <a:pt x="1755" y="896"/>
                        <a:pt x="1755" y="896"/>
                      </a:cubicBezTo>
                      <a:cubicBezTo>
                        <a:pt x="1755" y="896"/>
                        <a:pt x="1755" y="896"/>
                        <a:pt x="1756" y="896"/>
                      </a:cubicBezTo>
                      <a:cubicBezTo>
                        <a:pt x="1758" y="899"/>
                        <a:pt x="1758" y="899"/>
                        <a:pt x="1758" y="899"/>
                      </a:cubicBezTo>
                      <a:cubicBezTo>
                        <a:pt x="1758" y="905"/>
                        <a:pt x="1758" y="911"/>
                        <a:pt x="1758" y="918"/>
                      </a:cubicBezTo>
                      <a:cubicBezTo>
                        <a:pt x="1754" y="912"/>
                        <a:pt x="1751" y="905"/>
                        <a:pt x="1748" y="897"/>
                      </a:cubicBezTo>
                      <a:close/>
                      <a:moveTo>
                        <a:pt x="1350" y="990"/>
                      </a:moveTo>
                      <a:cubicBezTo>
                        <a:pt x="1348" y="992"/>
                        <a:pt x="1348" y="992"/>
                        <a:pt x="1348" y="992"/>
                      </a:cubicBezTo>
                      <a:cubicBezTo>
                        <a:pt x="1345" y="994"/>
                        <a:pt x="1345" y="994"/>
                        <a:pt x="1345" y="994"/>
                      </a:cubicBezTo>
                      <a:cubicBezTo>
                        <a:pt x="1347" y="991"/>
                        <a:pt x="1347" y="991"/>
                        <a:pt x="1347" y="991"/>
                      </a:cubicBezTo>
                      <a:cubicBezTo>
                        <a:pt x="1347" y="990"/>
                        <a:pt x="1347" y="989"/>
                        <a:pt x="1348" y="989"/>
                      </a:cubicBezTo>
                      <a:cubicBezTo>
                        <a:pt x="1348" y="988"/>
                        <a:pt x="1348" y="988"/>
                        <a:pt x="1348" y="988"/>
                      </a:cubicBezTo>
                      <a:lnTo>
                        <a:pt x="1350" y="990"/>
                      </a:lnTo>
                      <a:close/>
                      <a:moveTo>
                        <a:pt x="1293" y="1026"/>
                      </a:moveTo>
                      <a:cubicBezTo>
                        <a:pt x="1292" y="1028"/>
                        <a:pt x="1292" y="1028"/>
                        <a:pt x="1292" y="1028"/>
                      </a:cubicBezTo>
                      <a:cubicBezTo>
                        <a:pt x="1289" y="1026"/>
                        <a:pt x="1289" y="1026"/>
                        <a:pt x="1289" y="1026"/>
                      </a:cubicBezTo>
                      <a:cubicBezTo>
                        <a:pt x="1289" y="1026"/>
                        <a:pt x="1289" y="1026"/>
                        <a:pt x="1289" y="1026"/>
                      </a:cubicBezTo>
                      <a:cubicBezTo>
                        <a:pt x="1289" y="1025"/>
                        <a:pt x="1290" y="1025"/>
                        <a:pt x="1292" y="1024"/>
                      </a:cubicBezTo>
                      <a:cubicBezTo>
                        <a:pt x="1293" y="1025"/>
                        <a:pt x="1293" y="1025"/>
                        <a:pt x="1293" y="1026"/>
                      </a:cubicBezTo>
                      <a:close/>
                      <a:moveTo>
                        <a:pt x="1182" y="1488"/>
                      </a:moveTo>
                      <a:cubicBezTo>
                        <a:pt x="1182" y="1488"/>
                        <a:pt x="1182" y="1488"/>
                        <a:pt x="1182" y="1488"/>
                      </a:cubicBezTo>
                      <a:cubicBezTo>
                        <a:pt x="1185" y="1488"/>
                        <a:pt x="1185" y="1488"/>
                        <a:pt x="1185" y="1488"/>
                      </a:cubicBezTo>
                      <a:cubicBezTo>
                        <a:pt x="1185" y="1489"/>
                        <a:pt x="1185" y="1490"/>
                        <a:pt x="1185" y="1490"/>
                      </a:cubicBezTo>
                      <a:cubicBezTo>
                        <a:pt x="1185" y="1491"/>
                        <a:pt x="1185" y="1491"/>
                        <a:pt x="1185" y="1491"/>
                      </a:cubicBezTo>
                      <a:cubicBezTo>
                        <a:pt x="1183" y="1494"/>
                        <a:pt x="1183" y="1494"/>
                        <a:pt x="1183" y="1494"/>
                      </a:cubicBezTo>
                      <a:cubicBezTo>
                        <a:pt x="1182" y="1493"/>
                        <a:pt x="1182" y="1493"/>
                        <a:pt x="1182" y="1493"/>
                      </a:cubicBezTo>
                      <a:cubicBezTo>
                        <a:pt x="1182" y="1490"/>
                        <a:pt x="1182" y="1490"/>
                        <a:pt x="1182" y="1490"/>
                      </a:cubicBezTo>
                      <a:cubicBezTo>
                        <a:pt x="1182" y="1489"/>
                        <a:pt x="1182" y="1489"/>
                        <a:pt x="1182" y="1488"/>
                      </a:cubicBezTo>
                      <a:close/>
                      <a:moveTo>
                        <a:pt x="1184" y="1484"/>
                      </a:moveTo>
                      <a:cubicBezTo>
                        <a:pt x="1182" y="1483"/>
                        <a:pt x="1182" y="1483"/>
                        <a:pt x="1182" y="1483"/>
                      </a:cubicBezTo>
                      <a:cubicBezTo>
                        <a:pt x="1183" y="1481"/>
                        <a:pt x="1183" y="1481"/>
                        <a:pt x="1183" y="1481"/>
                      </a:cubicBezTo>
                      <a:cubicBezTo>
                        <a:pt x="1185" y="1478"/>
                        <a:pt x="1185" y="1478"/>
                        <a:pt x="1185" y="1478"/>
                      </a:cubicBezTo>
                      <a:cubicBezTo>
                        <a:pt x="1186" y="1481"/>
                        <a:pt x="1186" y="1481"/>
                        <a:pt x="1186" y="1481"/>
                      </a:cubicBezTo>
                      <a:lnTo>
                        <a:pt x="1184" y="1484"/>
                      </a:lnTo>
                      <a:close/>
                      <a:moveTo>
                        <a:pt x="488" y="227"/>
                      </a:moveTo>
                      <a:cubicBezTo>
                        <a:pt x="492" y="227"/>
                        <a:pt x="495" y="224"/>
                        <a:pt x="496" y="230"/>
                      </a:cubicBezTo>
                      <a:cubicBezTo>
                        <a:pt x="492" y="231"/>
                        <a:pt x="490" y="228"/>
                        <a:pt x="488" y="227"/>
                      </a:cubicBezTo>
                      <a:close/>
                      <a:moveTo>
                        <a:pt x="500" y="246"/>
                      </a:moveTo>
                      <a:cubicBezTo>
                        <a:pt x="497" y="246"/>
                        <a:pt x="498" y="243"/>
                        <a:pt x="495" y="242"/>
                      </a:cubicBezTo>
                      <a:cubicBezTo>
                        <a:pt x="498" y="243"/>
                        <a:pt x="501" y="238"/>
                        <a:pt x="500" y="246"/>
                      </a:cubicBezTo>
                      <a:close/>
                      <a:moveTo>
                        <a:pt x="512" y="244"/>
                      </a:moveTo>
                      <a:cubicBezTo>
                        <a:pt x="526" y="229"/>
                        <a:pt x="526" y="256"/>
                        <a:pt x="531" y="251"/>
                      </a:cubicBezTo>
                      <a:cubicBezTo>
                        <a:pt x="537" y="245"/>
                        <a:pt x="553" y="252"/>
                        <a:pt x="563" y="249"/>
                      </a:cubicBezTo>
                      <a:cubicBezTo>
                        <a:pt x="573" y="236"/>
                        <a:pt x="580" y="235"/>
                        <a:pt x="587" y="221"/>
                      </a:cubicBezTo>
                      <a:cubicBezTo>
                        <a:pt x="589" y="218"/>
                        <a:pt x="597" y="220"/>
                        <a:pt x="592" y="211"/>
                      </a:cubicBezTo>
                      <a:cubicBezTo>
                        <a:pt x="585" y="200"/>
                        <a:pt x="599" y="194"/>
                        <a:pt x="605" y="192"/>
                      </a:cubicBezTo>
                      <a:cubicBezTo>
                        <a:pt x="614" y="190"/>
                        <a:pt x="610" y="194"/>
                        <a:pt x="617" y="195"/>
                      </a:cubicBezTo>
                      <a:cubicBezTo>
                        <a:pt x="621" y="196"/>
                        <a:pt x="632" y="195"/>
                        <a:pt x="634" y="195"/>
                      </a:cubicBezTo>
                      <a:cubicBezTo>
                        <a:pt x="654" y="204"/>
                        <a:pt x="620" y="204"/>
                        <a:pt x="619" y="216"/>
                      </a:cubicBezTo>
                      <a:cubicBezTo>
                        <a:pt x="621" y="216"/>
                        <a:pt x="624" y="217"/>
                        <a:pt x="626" y="217"/>
                      </a:cubicBezTo>
                      <a:cubicBezTo>
                        <a:pt x="624" y="223"/>
                        <a:pt x="620" y="227"/>
                        <a:pt x="615" y="232"/>
                      </a:cubicBezTo>
                      <a:cubicBezTo>
                        <a:pt x="614" y="233"/>
                        <a:pt x="606" y="240"/>
                        <a:pt x="606" y="240"/>
                      </a:cubicBezTo>
                      <a:cubicBezTo>
                        <a:pt x="605" y="242"/>
                        <a:pt x="597" y="250"/>
                        <a:pt x="594" y="252"/>
                      </a:cubicBezTo>
                      <a:cubicBezTo>
                        <a:pt x="592" y="254"/>
                        <a:pt x="592" y="258"/>
                        <a:pt x="585" y="260"/>
                      </a:cubicBezTo>
                      <a:cubicBezTo>
                        <a:pt x="573" y="263"/>
                        <a:pt x="566" y="261"/>
                        <a:pt x="557" y="270"/>
                      </a:cubicBezTo>
                      <a:cubicBezTo>
                        <a:pt x="550" y="277"/>
                        <a:pt x="537" y="292"/>
                        <a:pt x="538" y="305"/>
                      </a:cubicBezTo>
                      <a:cubicBezTo>
                        <a:pt x="536" y="305"/>
                        <a:pt x="527" y="303"/>
                        <a:pt x="526" y="302"/>
                      </a:cubicBezTo>
                      <a:cubicBezTo>
                        <a:pt x="526" y="292"/>
                        <a:pt x="546" y="271"/>
                        <a:pt x="523" y="286"/>
                      </a:cubicBezTo>
                      <a:cubicBezTo>
                        <a:pt x="511" y="293"/>
                        <a:pt x="511" y="299"/>
                        <a:pt x="495" y="304"/>
                      </a:cubicBezTo>
                      <a:cubicBezTo>
                        <a:pt x="496" y="298"/>
                        <a:pt x="497" y="293"/>
                        <a:pt x="502" y="289"/>
                      </a:cubicBezTo>
                      <a:cubicBezTo>
                        <a:pt x="501" y="288"/>
                        <a:pt x="500" y="287"/>
                        <a:pt x="500" y="287"/>
                      </a:cubicBezTo>
                      <a:cubicBezTo>
                        <a:pt x="489" y="292"/>
                        <a:pt x="490" y="307"/>
                        <a:pt x="476" y="304"/>
                      </a:cubicBezTo>
                      <a:cubicBezTo>
                        <a:pt x="477" y="279"/>
                        <a:pt x="529" y="263"/>
                        <a:pt x="512" y="244"/>
                      </a:cubicBezTo>
                      <a:close/>
                      <a:moveTo>
                        <a:pt x="504" y="213"/>
                      </a:moveTo>
                      <a:cubicBezTo>
                        <a:pt x="506" y="210"/>
                        <a:pt x="510" y="206"/>
                        <a:pt x="512" y="203"/>
                      </a:cubicBezTo>
                      <a:cubicBezTo>
                        <a:pt x="520" y="210"/>
                        <a:pt x="531" y="207"/>
                        <a:pt x="541" y="208"/>
                      </a:cubicBezTo>
                      <a:cubicBezTo>
                        <a:pt x="533" y="214"/>
                        <a:pt x="517" y="221"/>
                        <a:pt x="514" y="229"/>
                      </a:cubicBezTo>
                      <a:cubicBezTo>
                        <a:pt x="514" y="226"/>
                        <a:pt x="513" y="220"/>
                        <a:pt x="514" y="217"/>
                      </a:cubicBezTo>
                      <a:cubicBezTo>
                        <a:pt x="508" y="217"/>
                        <a:pt x="508" y="215"/>
                        <a:pt x="504" y="213"/>
                      </a:cubicBezTo>
                      <a:close/>
                      <a:moveTo>
                        <a:pt x="553" y="238"/>
                      </a:moveTo>
                      <a:cubicBezTo>
                        <a:pt x="561" y="226"/>
                        <a:pt x="568" y="243"/>
                        <a:pt x="553" y="238"/>
                      </a:cubicBezTo>
                      <a:close/>
                      <a:moveTo>
                        <a:pt x="573" y="222"/>
                      </a:moveTo>
                      <a:cubicBezTo>
                        <a:pt x="574" y="222"/>
                        <a:pt x="577" y="220"/>
                        <a:pt x="579" y="221"/>
                      </a:cubicBezTo>
                      <a:cubicBezTo>
                        <a:pt x="576" y="227"/>
                        <a:pt x="575" y="222"/>
                        <a:pt x="573" y="222"/>
                      </a:cubicBezTo>
                      <a:close/>
                      <a:moveTo>
                        <a:pt x="697" y="116"/>
                      </a:moveTo>
                      <a:cubicBezTo>
                        <a:pt x="715" y="110"/>
                        <a:pt x="690" y="129"/>
                        <a:pt x="683" y="128"/>
                      </a:cubicBezTo>
                      <a:cubicBezTo>
                        <a:pt x="683" y="135"/>
                        <a:pt x="678" y="137"/>
                        <a:pt x="672" y="138"/>
                      </a:cubicBezTo>
                      <a:cubicBezTo>
                        <a:pt x="674" y="138"/>
                        <a:pt x="677" y="139"/>
                        <a:pt x="679" y="139"/>
                      </a:cubicBezTo>
                      <a:cubicBezTo>
                        <a:pt x="674" y="150"/>
                        <a:pt x="661" y="141"/>
                        <a:pt x="650" y="143"/>
                      </a:cubicBezTo>
                      <a:cubicBezTo>
                        <a:pt x="639" y="144"/>
                        <a:pt x="634" y="151"/>
                        <a:pt x="623" y="149"/>
                      </a:cubicBezTo>
                      <a:cubicBezTo>
                        <a:pt x="623" y="148"/>
                        <a:pt x="622" y="148"/>
                        <a:pt x="622" y="147"/>
                      </a:cubicBezTo>
                      <a:cubicBezTo>
                        <a:pt x="627" y="144"/>
                        <a:pt x="638" y="140"/>
                        <a:pt x="639" y="134"/>
                      </a:cubicBezTo>
                      <a:cubicBezTo>
                        <a:pt x="640" y="128"/>
                        <a:pt x="645" y="121"/>
                        <a:pt x="650" y="119"/>
                      </a:cubicBezTo>
                      <a:cubicBezTo>
                        <a:pt x="654" y="116"/>
                        <a:pt x="656" y="122"/>
                        <a:pt x="661" y="120"/>
                      </a:cubicBezTo>
                      <a:cubicBezTo>
                        <a:pt x="665" y="118"/>
                        <a:pt x="670" y="113"/>
                        <a:pt x="674" y="110"/>
                      </a:cubicBezTo>
                      <a:cubicBezTo>
                        <a:pt x="679" y="111"/>
                        <a:pt x="681" y="111"/>
                        <a:pt x="683" y="115"/>
                      </a:cubicBezTo>
                      <a:cubicBezTo>
                        <a:pt x="678" y="116"/>
                        <a:pt x="675" y="120"/>
                        <a:pt x="672" y="122"/>
                      </a:cubicBezTo>
                      <a:cubicBezTo>
                        <a:pt x="683" y="122"/>
                        <a:pt x="692" y="108"/>
                        <a:pt x="697" y="116"/>
                      </a:cubicBezTo>
                      <a:close/>
                      <a:moveTo>
                        <a:pt x="707" y="108"/>
                      </a:moveTo>
                      <a:cubicBezTo>
                        <a:pt x="714" y="104"/>
                        <a:pt x="717" y="98"/>
                        <a:pt x="725" y="94"/>
                      </a:cubicBezTo>
                      <a:cubicBezTo>
                        <a:pt x="724" y="97"/>
                        <a:pt x="727" y="110"/>
                        <a:pt x="727" y="109"/>
                      </a:cubicBezTo>
                      <a:cubicBezTo>
                        <a:pt x="724" y="117"/>
                        <a:pt x="712" y="121"/>
                        <a:pt x="706" y="123"/>
                      </a:cubicBezTo>
                      <a:cubicBezTo>
                        <a:pt x="712" y="117"/>
                        <a:pt x="711" y="111"/>
                        <a:pt x="707" y="108"/>
                      </a:cubicBezTo>
                      <a:close/>
                      <a:moveTo>
                        <a:pt x="774" y="244"/>
                      </a:moveTo>
                      <a:cubicBezTo>
                        <a:pt x="776" y="243"/>
                        <a:pt x="776" y="243"/>
                        <a:pt x="776" y="243"/>
                      </a:cubicBezTo>
                      <a:cubicBezTo>
                        <a:pt x="780" y="245"/>
                        <a:pt x="780" y="245"/>
                        <a:pt x="780" y="245"/>
                      </a:cubicBezTo>
                      <a:cubicBezTo>
                        <a:pt x="781" y="245"/>
                        <a:pt x="781" y="245"/>
                        <a:pt x="781" y="245"/>
                      </a:cubicBezTo>
                      <a:cubicBezTo>
                        <a:pt x="786" y="247"/>
                        <a:pt x="790" y="250"/>
                        <a:pt x="793" y="254"/>
                      </a:cubicBezTo>
                      <a:cubicBezTo>
                        <a:pt x="795" y="256"/>
                        <a:pt x="795" y="256"/>
                        <a:pt x="795" y="256"/>
                      </a:cubicBezTo>
                      <a:cubicBezTo>
                        <a:pt x="797" y="259"/>
                        <a:pt x="797" y="259"/>
                        <a:pt x="797" y="259"/>
                      </a:cubicBezTo>
                      <a:cubicBezTo>
                        <a:pt x="791" y="258"/>
                        <a:pt x="791" y="258"/>
                        <a:pt x="791" y="258"/>
                      </a:cubicBezTo>
                      <a:cubicBezTo>
                        <a:pt x="794" y="261"/>
                        <a:pt x="797" y="263"/>
                        <a:pt x="798" y="266"/>
                      </a:cubicBezTo>
                      <a:cubicBezTo>
                        <a:pt x="801" y="267"/>
                        <a:pt x="801" y="267"/>
                        <a:pt x="801" y="267"/>
                      </a:cubicBezTo>
                      <a:cubicBezTo>
                        <a:pt x="801" y="270"/>
                        <a:pt x="801" y="270"/>
                        <a:pt x="801" y="270"/>
                      </a:cubicBezTo>
                      <a:cubicBezTo>
                        <a:pt x="797" y="272"/>
                        <a:pt x="797" y="272"/>
                        <a:pt x="797" y="272"/>
                      </a:cubicBezTo>
                      <a:cubicBezTo>
                        <a:pt x="791" y="272"/>
                        <a:pt x="791" y="272"/>
                        <a:pt x="791" y="272"/>
                      </a:cubicBezTo>
                      <a:cubicBezTo>
                        <a:pt x="791" y="276"/>
                        <a:pt x="791" y="276"/>
                        <a:pt x="791" y="276"/>
                      </a:cubicBezTo>
                      <a:cubicBezTo>
                        <a:pt x="795" y="276"/>
                        <a:pt x="795" y="276"/>
                        <a:pt x="795" y="276"/>
                      </a:cubicBezTo>
                      <a:cubicBezTo>
                        <a:pt x="795" y="279"/>
                        <a:pt x="795" y="279"/>
                        <a:pt x="795" y="279"/>
                      </a:cubicBezTo>
                      <a:cubicBezTo>
                        <a:pt x="793" y="280"/>
                        <a:pt x="793" y="280"/>
                        <a:pt x="793" y="280"/>
                      </a:cubicBezTo>
                      <a:cubicBezTo>
                        <a:pt x="793" y="280"/>
                        <a:pt x="791" y="281"/>
                        <a:pt x="788" y="283"/>
                      </a:cubicBezTo>
                      <a:cubicBezTo>
                        <a:pt x="795" y="282"/>
                        <a:pt x="795" y="282"/>
                        <a:pt x="795" y="282"/>
                      </a:cubicBezTo>
                      <a:cubicBezTo>
                        <a:pt x="796" y="283"/>
                        <a:pt x="796" y="283"/>
                        <a:pt x="796" y="283"/>
                      </a:cubicBezTo>
                      <a:cubicBezTo>
                        <a:pt x="798" y="283"/>
                        <a:pt x="800" y="283"/>
                        <a:pt x="802" y="283"/>
                      </a:cubicBezTo>
                      <a:cubicBezTo>
                        <a:pt x="802" y="283"/>
                        <a:pt x="802" y="283"/>
                        <a:pt x="802" y="283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4" y="284"/>
                        <a:pt x="804" y="284"/>
                        <a:pt x="804" y="284"/>
                      </a:cubicBezTo>
                      <a:cubicBezTo>
                        <a:pt x="806" y="285"/>
                        <a:pt x="806" y="285"/>
                        <a:pt x="806" y="285"/>
                      </a:cubicBezTo>
                      <a:cubicBezTo>
                        <a:pt x="806" y="286"/>
                        <a:pt x="806" y="286"/>
                        <a:pt x="806" y="286"/>
                      </a:cubicBezTo>
                      <a:cubicBezTo>
                        <a:pt x="807" y="287"/>
                        <a:pt x="807" y="288"/>
                        <a:pt x="806" y="290"/>
                      </a:cubicBezTo>
                      <a:cubicBezTo>
                        <a:pt x="806" y="292"/>
                        <a:pt x="806" y="292"/>
                        <a:pt x="806" y="292"/>
                      </a:cubicBezTo>
                      <a:cubicBezTo>
                        <a:pt x="803" y="294"/>
                        <a:pt x="803" y="294"/>
                        <a:pt x="803" y="294"/>
                      </a:cubicBezTo>
                      <a:cubicBezTo>
                        <a:pt x="801" y="294"/>
                        <a:pt x="801" y="294"/>
                        <a:pt x="801" y="294"/>
                      </a:cubicBezTo>
                      <a:cubicBezTo>
                        <a:pt x="796" y="297"/>
                        <a:pt x="790" y="299"/>
                        <a:pt x="789" y="300"/>
                      </a:cubicBezTo>
                      <a:cubicBezTo>
                        <a:pt x="789" y="300"/>
                        <a:pt x="789" y="300"/>
                        <a:pt x="789" y="300"/>
                      </a:cubicBezTo>
                      <a:cubicBezTo>
                        <a:pt x="782" y="304"/>
                        <a:pt x="775" y="313"/>
                        <a:pt x="768" y="321"/>
                      </a:cubicBezTo>
                      <a:cubicBezTo>
                        <a:pt x="767" y="322"/>
                        <a:pt x="767" y="322"/>
                        <a:pt x="767" y="322"/>
                      </a:cubicBezTo>
                      <a:cubicBezTo>
                        <a:pt x="767" y="322"/>
                        <a:pt x="767" y="322"/>
                        <a:pt x="767" y="322"/>
                      </a:cubicBezTo>
                      <a:cubicBezTo>
                        <a:pt x="762" y="328"/>
                        <a:pt x="756" y="334"/>
                        <a:pt x="751" y="337"/>
                      </a:cubicBezTo>
                      <a:cubicBezTo>
                        <a:pt x="751" y="337"/>
                        <a:pt x="751" y="337"/>
                        <a:pt x="751" y="337"/>
                      </a:cubicBezTo>
                      <a:cubicBezTo>
                        <a:pt x="748" y="341"/>
                        <a:pt x="748" y="341"/>
                        <a:pt x="748" y="341"/>
                      </a:cubicBezTo>
                      <a:cubicBezTo>
                        <a:pt x="741" y="340"/>
                        <a:pt x="741" y="340"/>
                        <a:pt x="741" y="340"/>
                      </a:cubicBezTo>
                      <a:cubicBezTo>
                        <a:pt x="740" y="349"/>
                        <a:pt x="740" y="349"/>
                        <a:pt x="740" y="349"/>
                      </a:cubicBezTo>
                      <a:cubicBezTo>
                        <a:pt x="739" y="349"/>
                        <a:pt x="730" y="353"/>
                        <a:pt x="729" y="353"/>
                      </a:cubicBezTo>
                      <a:cubicBezTo>
                        <a:pt x="727" y="353"/>
                        <a:pt x="724" y="350"/>
                        <a:pt x="722" y="347"/>
                      </a:cubicBezTo>
                      <a:cubicBezTo>
                        <a:pt x="721" y="348"/>
                        <a:pt x="721" y="348"/>
                        <a:pt x="721" y="348"/>
                      </a:cubicBezTo>
                      <a:cubicBezTo>
                        <a:pt x="718" y="344"/>
                        <a:pt x="718" y="344"/>
                        <a:pt x="718" y="344"/>
                      </a:cubicBezTo>
                      <a:cubicBezTo>
                        <a:pt x="718" y="344"/>
                        <a:pt x="717" y="344"/>
                        <a:pt x="717" y="344"/>
                      </a:cubicBezTo>
                      <a:cubicBezTo>
                        <a:pt x="716" y="344"/>
                        <a:pt x="716" y="344"/>
                        <a:pt x="715" y="344"/>
                      </a:cubicBezTo>
                      <a:cubicBezTo>
                        <a:pt x="714" y="346"/>
                        <a:pt x="714" y="346"/>
                        <a:pt x="714" y="346"/>
                      </a:cubicBezTo>
                      <a:cubicBezTo>
                        <a:pt x="712" y="346"/>
                        <a:pt x="712" y="346"/>
                        <a:pt x="712" y="346"/>
                      </a:cubicBezTo>
                      <a:cubicBezTo>
                        <a:pt x="708" y="348"/>
                        <a:pt x="708" y="351"/>
                        <a:pt x="705" y="354"/>
                      </a:cubicBezTo>
                      <a:cubicBezTo>
                        <a:pt x="705" y="354"/>
                        <a:pt x="705" y="354"/>
                        <a:pt x="705" y="354"/>
                      </a:cubicBezTo>
                      <a:cubicBezTo>
                        <a:pt x="703" y="355"/>
                        <a:pt x="703" y="355"/>
                        <a:pt x="703" y="355"/>
                      </a:cubicBezTo>
                      <a:cubicBezTo>
                        <a:pt x="703" y="355"/>
                        <a:pt x="703" y="355"/>
                        <a:pt x="703" y="355"/>
                      </a:cubicBezTo>
                      <a:cubicBezTo>
                        <a:pt x="703" y="355"/>
                        <a:pt x="704" y="357"/>
                        <a:pt x="704" y="361"/>
                      </a:cubicBezTo>
                      <a:cubicBezTo>
                        <a:pt x="707" y="361"/>
                        <a:pt x="707" y="361"/>
                        <a:pt x="707" y="361"/>
                      </a:cubicBezTo>
                      <a:cubicBezTo>
                        <a:pt x="708" y="371"/>
                        <a:pt x="708" y="371"/>
                        <a:pt x="708" y="371"/>
                      </a:cubicBezTo>
                      <a:cubicBezTo>
                        <a:pt x="706" y="373"/>
                        <a:pt x="706" y="373"/>
                        <a:pt x="706" y="373"/>
                      </a:cubicBezTo>
                      <a:cubicBezTo>
                        <a:pt x="705" y="379"/>
                        <a:pt x="703" y="384"/>
                        <a:pt x="697" y="387"/>
                      </a:cubicBezTo>
                      <a:cubicBezTo>
                        <a:pt x="696" y="390"/>
                        <a:pt x="696" y="390"/>
                        <a:pt x="696" y="390"/>
                      </a:cubicBezTo>
                      <a:cubicBezTo>
                        <a:pt x="692" y="391"/>
                        <a:pt x="692" y="391"/>
                        <a:pt x="692" y="391"/>
                      </a:cubicBezTo>
                      <a:cubicBezTo>
                        <a:pt x="689" y="385"/>
                        <a:pt x="689" y="385"/>
                        <a:pt x="689" y="385"/>
                      </a:cubicBezTo>
                      <a:cubicBezTo>
                        <a:pt x="690" y="380"/>
                        <a:pt x="690" y="375"/>
                        <a:pt x="690" y="370"/>
                      </a:cubicBezTo>
                      <a:cubicBezTo>
                        <a:pt x="689" y="368"/>
                        <a:pt x="687" y="366"/>
                        <a:pt x="684" y="365"/>
                      </a:cubicBezTo>
                      <a:cubicBezTo>
                        <a:pt x="684" y="367"/>
                        <a:pt x="685" y="370"/>
                        <a:pt x="685" y="372"/>
                      </a:cubicBezTo>
                      <a:cubicBezTo>
                        <a:pt x="684" y="373"/>
                        <a:pt x="684" y="373"/>
                        <a:pt x="684" y="373"/>
                      </a:cubicBezTo>
                      <a:cubicBezTo>
                        <a:pt x="681" y="374"/>
                        <a:pt x="681" y="374"/>
                        <a:pt x="681" y="374"/>
                      </a:cubicBezTo>
                      <a:cubicBezTo>
                        <a:pt x="679" y="372"/>
                        <a:pt x="679" y="372"/>
                        <a:pt x="679" y="372"/>
                      </a:cubicBezTo>
                      <a:cubicBezTo>
                        <a:pt x="677" y="373"/>
                        <a:pt x="674" y="375"/>
                        <a:pt x="672" y="377"/>
                      </a:cubicBezTo>
                      <a:cubicBezTo>
                        <a:pt x="672" y="381"/>
                        <a:pt x="672" y="381"/>
                        <a:pt x="672" y="381"/>
                      </a:cubicBezTo>
                      <a:cubicBezTo>
                        <a:pt x="669" y="382"/>
                        <a:pt x="669" y="382"/>
                        <a:pt x="669" y="382"/>
                      </a:cubicBezTo>
                      <a:cubicBezTo>
                        <a:pt x="671" y="383"/>
                        <a:pt x="673" y="384"/>
                        <a:pt x="675" y="385"/>
                      </a:cubicBezTo>
                      <a:cubicBezTo>
                        <a:pt x="676" y="385"/>
                        <a:pt x="676" y="385"/>
                        <a:pt x="676" y="385"/>
                      </a:cubicBezTo>
                      <a:cubicBezTo>
                        <a:pt x="679" y="387"/>
                        <a:pt x="679" y="387"/>
                        <a:pt x="679" y="387"/>
                      </a:cubicBezTo>
                      <a:cubicBezTo>
                        <a:pt x="681" y="392"/>
                        <a:pt x="681" y="392"/>
                        <a:pt x="681" y="392"/>
                      </a:cubicBezTo>
                      <a:cubicBezTo>
                        <a:pt x="678" y="394"/>
                        <a:pt x="678" y="394"/>
                        <a:pt x="678" y="394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72" y="395"/>
                        <a:pt x="672" y="395"/>
                        <a:pt x="672" y="395"/>
                      </a:cubicBezTo>
                      <a:cubicBezTo>
                        <a:pt x="654" y="396"/>
                        <a:pt x="654" y="396"/>
                        <a:pt x="654" y="396"/>
                      </a:cubicBezTo>
                      <a:cubicBezTo>
                        <a:pt x="651" y="394"/>
                        <a:pt x="651" y="394"/>
                        <a:pt x="651" y="394"/>
                      </a:cubicBezTo>
                      <a:cubicBezTo>
                        <a:pt x="648" y="393"/>
                        <a:pt x="648" y="393"/>
                        <a:pt x="648" y="393"/>
                      </a:cubicBezTo>
                      <a:cubicBezTo>
                        <a:pt x="646" y="392"/>
                        <a:pt x="644" y="392"/>
                        <a:pt x="642" y="392"/>
                      </a:cubicBezTo>
                      <a:cubicBezTo>
                        <a:pt x="631" y="392"/>
                        <a:pt x="631" y="392"/>
                        <a:pt x="631" y="392"/>
                      </a:cubicBezTo>
                      <a:cubicBezTo>
                        <a:pt x="631" y="390"/>
                        <a:pt x="631" y="390"/>
                        <a:pt x="631" y="390"/>
                      </a:cubicBezTo>
                      <a:cubicBezTo>
                        <a:pt x="631" y="388"/>
                        <a:pt x="631" y="388"/>
                        <a:pt x="631" y="388"/>
                      </a:cubicBezTo>
                      <a:cubicBezTo>
                        <a:pt x="631" y="385"/>
                        <a:pt x="630" y="382"/>
                        <a:pt x="631" y="381"/>
                      </a:cubicBezTo>
                      <a:cubicBezTo>
                        <a:pt x="630" y="382"/>
                        <a:pt x="629" y="383"/>
                        <a:pt x="628" y="384"/>
                      </a:cubicBezTo>
                      <a:cubicBezTo>
                        <a:pt x="627" y="387"/>
                        <a:pt x="627" y="387"/>
                        <a:pt x="627" y="387"/>
                      </a:cubicBezTo>
                      <a:cubicBezTo>
                        <a:pt x="624" y="390"/>
                        <a:pt x="624" y="390"/>
                        <a:pt x="624" y="390"/>
                      </a:cubicBezTo>
                      <a:cubicBezTo>
                        <a:pt x="618" y="391"/>
                        <a:pt x="618" y="391"/>
                        <a:pt x="618" y="391"/>
                      </a:cubicBezTo>
                      <a:cubicBezTo>
                        <a:pt x="616" y="392"/>
                        <a:pt x="613" y="394"/>
                        <a:pt x="610" y="395"/>
                      </a:cubicBezTo>
                      <a:cubicBezTo>
                        <a:pt x="609" y="395"/>
                        <a:pt x="609" y="395"/>
                        <a:pt x="609" y="395"/>
                      </a:cubicBezTo>
                      <a:cubicBezTo>
                        <a:pt x="609" y="395"/>
                        <a:pt x="609" y="395"/>
                        <a:pt x="609" y="395"/>
                      </a:cubicBezTo>
                      <a:cubicBezTo>
                        <a:pt x="606" y="396"/>
                        <a:pt x="602" y="397"/>
                        <a:pt x="599" y="397"/>
                      </a:cubicBezTo>
                      <a:cubicBezTo>
                        <a:pt x="598" y="398"/>
                        <a:pt x="598" y="398"/>
                        <a:pt x="598" y="398"/>
                      </a:cubicBezTo>
                      <a:cubicBezTo>
                        <a:pt x="596" y="397"/>
                        <a:pt x="596" y="397"/>
                        <a:pt x="596" y="397"/>
                      </a:cubicBezTo>
                      <a:cubicBezTo>
                        <a:pt x="593" y="398"/>
                        <a:pt x="590" y="397"/>
                        <a:pt x="588" y="397"/>
                      </a:cubicBezTo>
                      <a:cubicBezTo>
                        <a:pt x="585" y="397"/>
                        <a:pt x="585" y="397"/>
                        <a:pt x="585" y="397"/>
                      </a:cubicBezTo>
                      <a:cubicBezTo>
                        <a:pt x="583" y="395"/>
                        <a:pt x="583" y="395"/>
                        <a:pt x="583" y="395"/>
                      </a:cubicBezTo>
                      <a:cubicBezTo>
                        <a:pt x="584" y="392"/>
                        <a:pt x="584" y="392"/>
                        <a:pt x="584" y="392"/>
                      </a:cubicBezTo>
                      <a:cubicBezTo>
                        <a:pt x="583" y="392"/>
                        <a:pt x="581" y="392"/>
                        <a:pt x="579" y="392"/>
                      </a:cubicBezTo>
                      <a:cubicBezTo>
                        <a:pt x="576" y="394"/>
                        <a:pt x="576" y="394"/>
                        <a:pt x="576" y="394"/>
                      </a:cubicBezTo>
                      <a:cubicBezTo>
                        <a:pt x="575" y="393"/>
                        <a:pt x="575" y="393"/>
                        <a:pt x="575" y="393"/>
                      </a:cubicBezTo>
                      <a:cubicBezTo>
                        <a:pt x="573" y="393"/>
                        <a:pt x="570" y="394"/>
                        <a:pt x="568" y="394"/>
                      </a:cubicBezTo>
                      <a:cubicBezTo>
                        <a:pt x="567" y="394"/>
                        <a:pt x="567" y="394"/>
                        <a:pt x="567" y="394"/>
                      </a:cubicBezTo>
                      <a:cubicBezTo>
                        <a:pt x="565" y="393"/>
                        <a:pt x="565" y="393"/>
                        <a:pt x="565" y="393"/>
                      </a:cubicBezTo>
                      <a:cubicBezTo>
                        <a:pt x="565" y="393"/>
                        <a:pt x="565" y="393"/>
                        <a:pt x="565" y="393"/>
                      </a:cubicBezTo>
                      <a:cubicBezTo>
                        <a:pt x="564" y="392"/>
                        <a:pt x="563" y="392"/>
                        <a:pt x="562" y="393"/>
                      </a:cubicBezTo>
                      <a:cubicBezTo>
                        <a:pt x="559" y="395"/>
                        <a:pt x="559" y="395"/>
                        <a:pt x="559" y="395"/>
                      </a:cubicBezTo>
                      <a:cubicBezTo>
                        <a:pt x="556" y="396"/>
                        <a:pt x="556" y="396"/>
                        <a:pt x="556" y="396"/>
                      </a:cubicBezTo>
                      <a:cubicBezTo>
                        <a:pt x="554" y="398"/>
                        <a:pt x="551" y="401"/>
                        <a:pt x="549" y="402"/>
                      </a:cubicBezTo>
                      <a:cubicBezTo>
                        <a:pt x="547" y="403"/>
                        <a:pt x="547" y="403"/>
                        <a:pt x="547" y="403"/>
                      </a:cubicBezTo>
                      <a:cubicBezTo>
                        <a:pt x="545" y="402"/>
                        <a:pt x="545" y="402"/>
                        <a:pt x="545" y="402"/>
                      </a:cubicBezTo>
                      <a:cubicBezTo>
                        <a:pt x="545" y="402"/>
                        <a:pt x="545" y="402"/>
                        <a:pt x="545" y="402"/>
                      </a:cubicBezTo>
                      <a:cubicBezTo>
                        <a:pt x="544" y="401"/>
                        <a:pt x="544" y="401"/>
                        <a:pt x="543" y="401"/>
                      </a:cubicBezTo>
                      <a:cubicBezTo>
                        <a:pt x="539" y="402"/>
                        <a:pt x="539" y="402"/>
                        <a:pt x="539" y="402"/>
                      </a:cubicBezTo>
                      <a:cubicBezTo>
                        <a:pt x="533" y="405"/>
                        <a:pt x="533" y="405"/>
                        <a:pt x="533" y="405"/>
                      </a:cubicBezTo>
                      <a:cubicBezTo>
                        <a:pt x="530" y="406"/>
                        <a:pt x="530" y="406"/>
                        <a:pt x="530" y="406"/>
                      </a:cubicBezTo>
                      <a:cubicBezTo>
                        <a:pt x="526" y="408"/>
                        <a:pt x="523" y="410"/>
                        <a:pt x="521" y="411"/>
                      </a:cubicBezTo>
                      <a:cubicBezTo>
                        <a:pt x="518" y="415"/>
                        <a:pt x="518" y="415"/>
                        <a:pt x="518" y="415"/>
                      </a:cubicBezTo>
                      <a:cubicBezTo>
                        <a:pt x="511" y="417"/>
                        <a:pt x="511" y="417"/>
                        <a:pt x="511" y="417"/>
                      </a:cubicBezTo>
                      <a:cubicBezTo>
                        <a:pt x="506" y="417"/>
                        <a:pt x="506" y="417"/>
                        <a:pt x="506" y="417"/>
                      </a:cubicBezTo>
                      <a:cubicBezTo>
                        <a:pt x="505" y="418"/>
                        <a:pt x="503" y="419"/>
                        <a:pt x="502" y="420"/>
                      </a:cubicBezTo>
                      <a:cubicBezTo>
                        <a:pt x="502" y="421"/>
                        <a:pt x="502" y="421"/>
                        <a:pt x="502" y="421"/>
                      </a:cubicBezTo>
                      <a:cubicBezTo>
                        <a:pt x="496" y="426"/>
                        <a:pt x="496" y="426"/>
                        <a:pt x="496" y="426"/>
                      </a:cubicBezTo>
                      <a:cubicBezTo>
                        <a:pt x="494" y="424"/>
                        <a:pt x="492" y="422"/>
                        <a:pt x="491" y="419"/>
                      </a:cubicBezTo>
                      <a:cubicBezTo>
                        <a:pt x="490" y="419"/>
                        <a:pt x="490" y="419"/>
                        <a:pt x="490" y="419"/>
                      </a:cubicBezTo>
                      <a:cubicBezTo>
                        <a:pt x="489" y="415"/>
                        <a:pt x="489" y="415"/>
                        <a:pt x="489" y="415"/>
                      </a:cubicBezTo>
                      <a:cubicBezTo>
                        <a:pt x="490" y="415"/>
                        <a:pt x="490" y="415"/>
                        <a:pt x="490" y="415"/>
                      </a:cubicBezTo>
                      <a:cubicBezTo>
                        <a:pt x="491" y="412"/>
                        <a:pt x="491" y="404"/>
                        <a:pt x="491" y="399"/>
                      </a:cubicBezTo>
                      <a:cubicBezTo>
                        <a:pt x="490" y="397"/>
                        <a:pt x="490" y="397"/>
                        <a:pt x="490" y="397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1" y="395"/>
                        <a:pt x="491" y="395"/>
                        <a:pt x="491" y="395"/>
                      </a:cubicBezTo>
                      <a:cubicBezTo>
                        <a:pt x="493" y="388"/>
                        <a:pt x="493" y="388"/>
                        <a:pt x="493" y="388"/>
                      </a:cubicBezTo>
                      <a:cubicBezTo>
                        <a:pt x="495" y="387"/>
                        <a:pt x="495" y="387"/>
                        <a:pt x="495" y="387"/>
                      </a:cubicBezTo>
                      <a:cubicBezTo>
                        <a:pt x="497" y="383"/>
                        <a:pt x="500" y="379"/>
                        <a:pt x="502" y="376"/>
                      </a:cubicBezTo>
                      <a:cubicBezTo>
                        <a:pt x="503" y="375"/>
                        <a:pt x="505" y="372"/>
                        <a:pt x="506" y="370"/>
                      </a:cubicBezTo>
                      <a:cubicBezTo>
                        <a:pt x="506" y="368"/>
                        <a:pt x="506" y="368"/>
                        <a:pt x="506" y="368"/>
                      </a:cubicBezTo>
                      <a:cubicBezTo>
                        <a:pt x="509" y="366"/>
                        <a:pt x="509" y="366"/>
                        <a:pt x="509" y="366"/>
                      </a:cubicBezTo>
                      <a:cubicBezTo>
                        <a:pt x="511" y="363"/>
                        <a:pt x="513" y="361"/>
                        <a:pt x="516" y="359"/>
                      </a:cubicBezTo>
                      <a:cubicBezTo>
                        <a:pt x="522" y="361"/>
                        <a:pt x="518" y="361"/>
                        <a:pt x="524" y="356"/>
                      </a:cubicBezTo>
                      <a:cubicBezTo>
                        <a:pt x="519" y="354"/>
                        <a:pt x="519" y="354"/>
                        <a:pt x="519" y="354"/>
                      </a:cubicBezTo>
                      <a:cubicBezTo>
                        <a:pt x="520" y="351"/>
                        <a:pt x="520" y="351"/>
                        <a:pt x="520" y="351"/>
                      </a:cubicBezTo>
                      <a:cubicBezTo>
                        <a:pt x="524" y="350"/>
                        <a:pt x="524" y="350"/>
                        <a:pt x="524" y="350"/>
                      </a:cubicBezTo>
                      <a:cubicBezTo>
                        <a:pt x="526" y="348"/>
                        <a:pt x="527" y="346"/>
                        <a:pt x="529" y="345"/>
                      </a:cubicBezTo>
                      <a:cubicBezTo>
                        <a:pt x="530" y="343"/>
                        <a:pt x="530" y="343"/>
                        <a:pt x="530" y="343"/>
                      </a:cubicBezTo>
                      <a:cubicBezTo>
                        <a:pt x="536" y="340"/>
                        <a:pt x="536" y="340"/>
                        <a:pt x="536" y="340"/>
                      </a:cubicBezTo>
                      <a:cubicBezTo>
                        <a:pt x="539" y="340"/>
                        <a:pt x="539" y="340"/>
                        <a:pt x="539" y="340"/>
                      </a:cubicBezTo>
                      <a:cubicBezTo>
                        <a:pt x="541" y="340"/>
                        <a:pt x="543" y="340"/>
                        <a:pt x="546" y="340"/>
                      </a:cubicBezTo>
                      <a:cubicBezTo>
                        <a:pt x="546" y="340"/>
                        <a:pt x="541" y="337"/>
                        <a:pt x="538" y="336"/>
                      </a:cubicBezTo>
                      <a:cubicBezTo>
                        <a:pt x="540" y="334"/>
                        <a:pt x="540" y="334"/>
                        <a:pt x="540" y="334"/>
                      </a:cubicBezTo>
                      <a:cubicBezTo>
                        <a:pt x="541" y="333"/>
                        <a:pt x="541" y="333"/>
                        <a:pt x="541" y="333"/>
                      </a:cubicBezTo>
                      <a:cubicBezTo>
                        <a:pt x="545" y="330"/>
                        <a:pt x="551" y="326"/>
                        <a:pt x="556" y="324"/>
                      </a:cubicBezTo>
                      <a:cubicBezTo>
                        <a:pt x="556" y="323"/>
                        <a:pt x="556" y="323"/>
                        <a:pt x="556" y="323"/>
                      </a:cubicBezTo>
                      <a:cubicBezTo>
                        <a:pt x="561" y="321"/>
                        <a:pt x="561" y="321"/>
                        <a:pt x="561" y="321"/>
                      </a:cubicBezTo>
                      <a:cubicBezTo>
                        <a:pt x="565" y="324"/>
                        <a:pt x="565" y="324"/>
                        <a:pt x="565" y="324"/>
                      </a:cubicBezTo>
                      <a:cubicBezTo>
                        <a:pt x="565" y="328"/>
                        <a:pt x="565" y="328"/>
                        <a:pt x="565" y="328"/>
                      </a:cubicBezTo>
                      <a:cubicBezTo>
                        <a:pt x="568" y="327"/>
                        <a:pt x="568" y="327"/>
                        <a:pt x="568" y="327"/>
                      </a:cubicBezTo>
                      <a:cubicBezTo>
                        <a:pt x="571" y="328"/>
                        <a:pt x="571" y="328"/>
                        <a:pt x="571" y="328"/>
                      </a:cubicBezTo>
                      <a:cubicBezTo>
                        <a:pt x="572" y="326"/>
                        <a:pt x="572" y="326"/>
                        <a:pt x="572" y="326"/>
                      </a:cubicBezTo>
                      <a:cubicBezTo>
                        <a:pt x="568" y="324"/>
                        <a:pt x="568" y="324"/>
                        <a:pt x="568" y="324"/>
                      </a:cubicBezTo>
                      <a:cubicBezTo>
                        <a:pt x="568" y="320"/>
                        <a:pt x="568" y="320"/>
                        <a:pt x="568" y="320"/>
                      </a:cubicBezTo>
                      <a:cubicBezTo>
                        <a:pt x="574" y="321"/>
                        <a:pt x="574" y="321"/>
                        <a:pt x="574" y="321"/>
                      </a:cubicBezTo>
                      <a:cubicBezTo>
                        <a:pt x="576" y="321"/>
                        <a:pt x="578" y="321"/>
                        <a:pt x="580" y="321"/>
                      </a:cubicBezTo>
                      <a:cubicBezTo>
                        <a:pt x="583" y="319"/>
                        <a:pt x="583" y="319"/>
                        <a:pt x="583" y="319"/>
                      </a:cubicBezTo>
                      <a:cubicBezTo>
                        <a:pt x="591" y="318"/>
                        <a:pt x="591" y="318"/>
                        <a:pt x="591" y="318"/>
                      </a:cubicBezTo>
                      <a:cubicBezTo>
                        <a:pt x="593" y="318"/>
                        <a:pt x="593" y="318"/>
                        <a:pt x="593" y="318"/>
                      </a:cubicBezTo>
                      <a:cubicBezTo>
                        <a:pt x="598" y="316"/>
                        <a:pt x="602" y="313"/>
                        <a:pt x="605" y="310"/>
                      </a:cubicBezTo>
                      <a:cubicBezTo>
                        <a:pt x="606" y="300"/>
                        <a:pt x="606" y="300"/>
                        <a:pt x="606" y="300"/>
                      </a:cubicBezTo>
                      <a:cubicBezTo>
                        <a:pt x="607" y="299"/>
                        <a:pt x="607" y="299"/>
                        <a:pt x="607" y="299"/>
                      </a:cubicBezTo>
                      <a:cubicBezTo>
                        <a:pt x="607" y="297"/>
                        <a:pt x="608" y="296"/>
                        <a:pt x="609" y="296"/>
                      </a:cubicBezTo>
                      <a:cubicBezTo>
                        <a:pt x="610" y="295"/>
                        <a:pt x="610" y="295"/>
                        <a:pt x="610" y="295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2" y="296"/>
                        <a:pt x="612" y="296"/>
                        <a:pt x="612" y="296"/>
                      </a:cubicBezTo>
                      <a:cubicBezTo>
                        <a:pt x="614" y="297"/>
                        <a:pt x="614" y="297"/>
                        <a:pt x="614" y="297"/>
                      </a:cubicBezTo>
                      <a:cubicBezTo>
                        <a:pt x="616" y="300"/>
                        <a:pt x="616" y="300"/>
                        <a:pt x="616" y="300"/>
                      </a:cubicBezTo>
                      <a:cubicBezTo>
                        <a:pt x="616" y="301"/>
                        <a:pt x="616" y="301"/>
                        <a:pt x="616" y="301"/>
                      </a:cubicBezTo>
                      <a:cubicBezTo>
                        <a:pt x="617" y="303"/>
                        <a:pt x="617" y="306"/>
                        <a:pt x="617" y="308"/>
                      </a:cubicBezTo>
                      <a:cubicBezTo>
                        <a:pt x="623" y="302"/>
                        <a:pt x="623" y="302"/>
                        <a:pt x="623" y="302"/>
                      </a:cubicBezTo>
                      <a:cubicBezTo>
                        <a:pt x="624" y="301"/>
                        <a:pt x="624" y="301"/>
                        <a:pt x="624" y="301"/>
                      </a:cubicBezTo>
                      <a:cubicBezTo>
                        <a:pt x="626" y="299"/>
                        <a:pt x="629" y="296"/>
                        <a:pt x="631" y="294"/>
                      </a:cubicBezTo>
                      <a:cubicBezTo>
                        <a:pt x="626" y="293"/>
                        <a:pt x="626" y="293"/>
                        <a:pt x="626" y="293"/>
                      </a:cubicBezTo>
                      <a:cubicBezTo>
                        <a:pt x="625" y="290"/>
                        <a:pt x="625" y="290"/>
                        <a:pt x="625" y="290"/>
                      </a:cubicBezTo>
                      <a:cubicBezTo>
                        <a:pt x="635" y="287"/>
                        <a:pt x="635" y="287"/>
                        <a:pt x="635" y="287"/>
                      </a:cubicBezTo>
                      <a:cubicBezTo>
                        <a:pt x="635" y="287"/>
                        <a:pt x="635" y="287"/>
                        <a:pt x="635" y="287"/>
                      </a:cubicBezTo>
                      <a:cubicBezTo>
                        <a:pt x="642" y="285"/>
                        <a:pt x="648" y="283"/>
                        <a:pt x="655" y="280"/>
                      </a:cubicBezTo>
                      <a:cubicBezTo>
                        <a:pt x="656" y="279"/>
                        <a:pt x="656" y="279"/>
                        <a:pt x="656" y="279"/>
                      </a:cubicBezTo>
                      <a:cubicBezTo>
                        <a:pt x="665" y="271"/>
                        <a:pt x="665" y="271"/>
                        <a:pt x="665" y="271"/>
                      </a:cubicBezTo>
                      <a:cubicBezTo>
                        <a:pt x="674" y="262"/>
                        <a:pt x="674" y="262"/>
                        <a:pt x="674" y="262"/>
                      </a:cubicBezTo>
                      <a:cubicBezTo>
                        <a:pt x="680" y="260"/>
                        <a:pt x="680" y="260"/>
                        <a:pt x="680" y="260"/>
                      </a:cubicBezTo>
                      <a:cubicBezTo>
                        <a:pt x="685" y="253"/>
                        <a:pt x="683" y="245"/>
                        <a:pt x="684" y="237"/>
                      </a:cubicBezTo>
                      <a:cubicBezTo>
                        <a:pt x="683" y="234"/>
                        <a:pt x="683" y="234"/>
                        <a:pt x="683" y="234"/>
                      </a:cubicBezTo>
                      <a:cubicBezTo>
                        <a:pt x="683" y="232"/>
                        <a:pt x="683" y="232"/>
                        <a:pt x="683" y="232"/>
                      </a:cubicBezTo>
                      <a:cubicBezTo>
                        <a:pt x="685" y="230"/>
                        <a:pt x="685" y="230"/>
                        <a:pt x="685" y="230"/>
                      </a:cubicBezTo>
                      <a:cubicBezTo>
                        <a:pt x="686" y="228"/>
                        <a:pt x="687" y="226"/>
                        <a:pt x="689" y="224"/>
                      </a:cubicBezTo>
                      <a:cubicBezTo>
                        <a:pt x="689" y="222"/>
                        <a:pt x="689" y="222"/>
                        <a:pt x="689" y="222"/>
                      </a:cubicBezTo>
                      <a:cubicBezTo>
                        <a:pt x="692" y="222"/>
                        <a:pt x="692" y="222"/>
                        <a:pt x="692" y="222"/>
                      </a:cubicBezTo>
                      <a:cubicBezTo>
                        <a:pt x="691" y="227"/>
                        <a:pt x="691" y="227"/>
                        <a:pt x="691" y="227"/>
                      </a:cubicBezTo>
                      <a:cubicBezTo>
                        <a:pt x="691" y="229"/>
                        <a:pt x="692" y="231"/>
                        <a:pt x="695" y="232"/>
                      </a:cubicBezTo>
                      <a:cubicBezTo>
                        <a:pt x="700" y="232"/>
                        <a:pt x="700" y="232"/>
                        <a:pt x="700" y="232"/>
                      </a:cubicBezTo>
                      <a:cubicBezTo>
                        <a:pt x="699" y="230"/>
                        <a:pt x="699" y="229"/>
                        <a:pt x="699" y="227"/>
                      </a:cubicBezTo>
                      <a:cubicBezTo>
                        <a:pt x="696" y="225"/>
                        <a:pt x="696" y="225"/>
                        <a:pt x="696" y="225"/>
                      </a:cubicBezTo>
                      <a:cubicBezTo>
                        <a:pt x="699" y="221"/>
                        <a:pt x="699" y="221"/>
                        <a:pt x="699" y="221"/>
                      </a:cubicBezTo>
                      <a:cubicBezTo>
                        <a:pt x="701" y="221"/>
                        <a:pt x="701" y="221"/>
                        <a:pt x="701" y="221"/>
                      </a:cubicBezTo>
                      <a:cubicBezTo>
                        <a:pt x="702" y="218"/>
                        <a:pt x="705" y="216"/>
                        <a:pt x="708" y="217"/>
                      </a:cubicBezTo>
                      <a:cubicBezTo>
                        <a:pt x="708" y="217"/>
                        <a:pt x="708" y="217"/>
                        <a:pt x="708" y="217"/>
                      </a:cubicBezTo>
                      <a:cubicBezTo>
                        <a:pt x="711" y="219"/>
                        <a:pt x="711" y="219"/>
                        <a:pt x="711" y="219"/>
                      </a:cubicBezTo>
                      <a:cubicBezTo>
                        <a:pt x="711" y="219"/>
                        <a:pt x="711" y="219"/>
                        <a:pt x="711" y="219"/>
                      </a:cubicBezTo>
                      <a:cubicBezTo>
                        <a:pt x="716" y="223"/>
                        <a:pt x="714" y="225"/>
                        <a:pt x="721" y="228"/>
                      </a:cubicBezTo>
                      <a:cubicBezTo>
                        <a:pt x="723" y="229"/>
                        <a:pt x="723" y="229"/>
                        <a:pt x="723" y="229"/>
                      </a:cubicBezTo>
                      <a:cubicBezTo>
                        <a:pt x="723" y="229"/>
                        <a:pt x="723" y="229"/>
                        <a:pt x="724" y="229"/>
                      </a:cubicBezTo>
                      <a:cubicBezTo>
                        <a:pt x="728" y="228"/>
                        <a:pt x="728" y="228"/>
                        <a:pt x="728" y="228"/>
                      </a:cubicBezTo>
                      <a:cubicBezTo>
                        <a:pt x="734" y="233"/>
                        <a:pt x="734" y="233"/>
                        <a:pt x="734" y="233"/>
                      </a:cubicBezTo>
                      <a:cubicBezTo>
                        <a:pt x="736" y="231"/>
                        <a:pt x="736" y="229"/>
                        <a:pt x="736" y="227"/>
                      </a:cubicBezTo>
                      <a:cubicBezTo>
                        <a:pt x="735" y="224"/>
                        <a:pt x="735" y="224"/>
                        <a:pt x="735" y="224"/>
                      </a:cubicBezTo>
                      <a:cubicBezTo>
                        <a:pt x="740" y="224"/>
                        <a:pt x="740" y="224"/>
                        <a:pt x="740" y="224"/>
                      </a:cubicBezTo>
                      <a:cubicBezTo>
                        <a:pt x="742" y="226"/>
                        <a:pt x="742" y="226"/>
                        <a:pt x="742" y="226"/>
                      </a:cubicBezTo>
                      <a:cubicBezTo>
                        <a:pt x="746" y="227"/>
                        <a:pt x="748" y="229"/>
                        <a:pt x="751" y="230"/>
                      </a:cubicBezTo>
                      <a:cubicBezTo>
                        <a:pt x="755" y="230"/>
                        <a:pt x="755" y="230"/>
                        <a:pt x="755" y="230"/>
                      </a:cubicBezTo>
                      <a:cubicBezTo>
                        <a:pt x="755" y="233"/>
                        <a:pt x="755" y="233"/>
                        <a:pt x="755" y="233"/>
                      </a:cubicBezTo>
                      <a:cubicBezTo>
                        <a:pt x="756" y="234"/>
                        <a:pt x="757" y="234"/>
                        <a:pt x="758" y="235"/>
                      </a:cubicBezTo>
                      <a:cubicBezTo>
                        <a:pt x="761" y="235"/>
                        <a:pt x="761" y="235"/>
                        <a:pt x="761" y="235"/>
                      </a:cubicBezTo>
                      <a:cubicBezTo>
                        <a:pt x="763" y="237"/>
                        <a:pt x="763" y="237"/>
                        <a:pt x="763" y="237"/>
                      </a:cubicBezTo>
                      <a:cubicBezTo>
                        <a:pt x="763" y="238"/>
                        <a:pt x="763" y="238"/>
                        <a:pt x="763" y="238"/>
                      </a:cubicBezTo>
                      <a:cubicBezTo>
                        <a:pt x="765" y="239"/>
                        <a:pt x="768" y="239"/>
                        <a:pt x="770" y="240"/>
                      </a:cubicBezTo>
                      <a:cubicBezTo>
                        <a:pt x="770" y="245"/>
                        <a:pt x="770" y="245"/>
                        <a:pt x="770" y="245"/>
                      </a:cubicBezTo>
                      <a:cubicBezTo>
                        <a:pt x="771" y="245"/>
                        <a:pt x="773" y="244"/>
                        <a:pt x="774" y="244"/>
                      </a:cubicBezTo>
                      <a:close/>
                      <a:moveTo>
                        <a:pt x="708" y="700"/>
                      </a:moveTo>
                      <a:cubicBezTo>
                        <a:pt x="703" y="703"/>
                        <a:pt x="703" y="703"/>
                        <a:pt x="703" y="703"/>
                      </a:cubicBezTo>
                      <a:cubicBezTo>
                        <a:pt x="699" y="702"/>
                        <a:pt x="699" y="702"/>
                        <a:pt x="699" y="702"/>
                      </a:cubicBezTo>
                      <a:cubicBezTo>
                        <a:pt x="694" y="702"/>
                        <a:pt x="688" y="701"/>
                        <a:pt x="682" y="700"/>
                      </a:cubicBezTo>
                      <a:cubicBezTo>
                        <a:pt x="682" y="700"/>
                        <a:pt x="682" y="700"/>
                        <a:pt x="683" y="701"/>
                      </a:cubicBezTo>
                      <a:cubicBezTo>
                        <a:pt x="682" y="701"/>
                        <a:pt x="681" y="701"/>
                        <a:pt x="680" y="700"/>
                      </a:cubicBezTo>
                      <a:cubicBezTo>
                        <a:pt x="679" y="700"/>
                        <a:pt x="679" y="700"/>
                        <a:pt x="679" y="700"/>
                      </a:cubicBezTo>
                      <a:cubicBezTo>
                        <a:pt x="678" y="699"/>
                        <a:pt x="678" y="699"/>
                        <a:pt x="678" y="699"/>
                      </a:cubicBezTo>
                      <a:cubicBezTo>
                        <a:pt x="666" y="697"/>
                        <a:pt x="653" y="693"/>
                        <a:pt x="645" y="692"/>
                      </a:cubicBezTo>
                      <a:cubicBezTo>
                        <a:pt x="646" y="690"/>
                        <a:pt x="646" y="690"/>
                        <a:pt x="646" y="690"/>
                      </a:cubicBezTo>
                      <a:cubicBezTo>
                        <a:pt x="650" y="688"/>
                        <a:pt x="650" y="688"/>
                        <a:pt x="650" y="688"/>
                      </a:cubicBezTo>
                      <a:cubicBezTo>
                        <a:pt x="651" y="688"/>
                        <a:pt x="652" y="687"/>
                        <a:pt x="653" y="687"/>
                      </a:cubicBezTo>
                      <a:cubicBezTo>
                        <a:pt x="659" y="684"/>
                        <a:pt x="659" y="684"/>
                        <a:pt x="659" y="684"/>
                      </a:cubicBezTo>
                      <a:cubicBezTo>
                        <a:pt x="662" y="683"/>
                        <a:pt x="662" y="683"/>
                        <a:pt x="662" y="683"/>
                      </a:cubicBezTo>
                      <a:cubicBezTo>
                        <a:pt x="664" y="684"/>
                        <a:pt x="664" y="684"/>
                        <a:pt x="664" y="684"/>
                      </a:cubicBezTo>
                      <a:cubicBezTo>
                        <a:pt x="666" y="684"/>
                        <a:pt x="669" y="683"/>
                        <a:pt x="672" y="683"/>
                      </a:cubicBezTo>
                      <a:cubicBezTo>
                        <a:pt x="669" y="681"/>
                        <a:pt x="657" y="679"/>
                        <a:pt x="657" y="678"/>
                      </a:cubicBezTo>
                      <a:cubicBezTo>
                        <a:pt x="656" y="677"/>
                        <a:pt x="656" y="675"/>
                        <a:pt x="656" y="674"/>
                      </a:cubicBezTo>
                      <a:cubicBezTo>
                        <a:pt x="655" y="672"/>
                        <a:pt x="655" y="672"/>
                        <a:pt x="655" y="672"/>
                      </a:cubicBezTo>
                      <a:cubicBezTo>
                        <a:pt x="658" y="671"/>
                        <a:pt x="658" y="671"/>
                        <a:pt x="658" y="671"/>
                      </a:cubicBezTo>
                      <a:cubicBezTo>
                        <a:pt x="661" y="667"/>
                        <a:pt x="669" y="664"/>
                        <a:pt x="664" y="656"/>
                      </a:cubicBezTo>
                      <a:cubicBezTo>
                        <a:pt x="669" y="655"/>
                        <a:pt x="669" y="655"/>
                        <a:pt x="669" y="655"/>
                      </a:cubicBezTo>
                      <a:cubicBezTo>
                        <a:pt x="673" y="656"/>
                        <a:pt x="673" y="656"/>
                        <a:pt x="673" y="656"/>
                      </a:cubicBezTo>
                      <a:cubicBezTo>
                        <a:pt x="675" y="656"/>
                        <a:pt x="676" y="656"/>
                        <a:pt x="677" y="656"/>
                      </a:cubicBezTo>
                      <a:cubicBezTo>
                        <a:pt x="677" y="652"/>
                        <a:pt x="677" y="652"/>
                        <a:pt x="677" y="652"/>
                      </a:cubicBezTo>
                      <a:cubicBezTo>
                        <a:pt x="680" y="649"/>
                        <a:pt x="680" y="649"/>
                        <a:pt x="680" y="649"/>
                      </a:cubicBezTo>
                      <a:cubicBezTo>
                        <a:pt x="680" y="647"/>
                        <a:pt x="680" y="645"/>
                        <a:pt x="680" y="644"/>
                      </a:cubicBezTo>
                      <a:cubicBezTo>
                        <a:pt x="680" y="641"/>
                        <a:pt x="680" y="641"/>
                        <a:pt x="680" y="641"/>
                      </a:cubicBezTo>
                      <a:cubicBezTo>
                        <a:pt x="677" y="636"/>
                        <a:pt x="677" y="636"/>
                        <a:pt x="677" y="636"/>
                      </a:cubicBezTo>
                      <a:cubicBezTo>
                        <a:pt x="682" y="632"/>
                        <a:pt x="682" y="632"/>
                        <a:pt x="682" y="632"/>
                      </a:cubicBezTo>
                      <a:cubicBezTo>
                        <a:pt x="682" y="631"/>
                        <a:pt x="682" y="631"/>
                        <a:pt x="682" y="630"/>
                      </a:cubicBezTo>
                      <a:cubicBezTo>
                        <a:pt x="682" y="630"/>
                        <a:pt x="682" y="630"/>
                        <a:pt x="682" y="630"/>
                      </a:cubicBezTo>
                      <a:cubicBezTo>
                        <a:pt x="682" y="629"/>
                        <a:pt x="682" y="629"/>
                        <a:pt x="681" y="629"/>
                      </a:cubicBezTo>
                      <a:cubicBezTo>
                        <a:pt x="677" y="629"/>
                        <a:pt x="677" y="629"/>
                        <a:pt x="677" y="629"/>
                      </a:cubicBezTo>
                      <a:cubicBezTo>
                        <a:pt x="676" y="629"/>
                        <a:pt x="675" y="629"/>
                        <a:pt x="674" y="629"/>
                      </a:cubicBezTo>
                      <a:cubicBezTo>
                        <a:pt x="673" y="629"/>
                        <a:pt x="673" y="629"/>
                        <a:pt x="673" y="629"/>
                      </a:cubicBezTo>
                      <a:cubicBezTo>
                        <a:pt x="673" y="624"/>
                        <a:pt x="673" y="624"/>
                        <a:pt x="673" y="624"/>
                      </a:cubicBezTo>
                      <a:cubicBezTo>
                        <a:pt x="673" y="623"/>
                        <a:pt x="673" y="623"/>
                        <a:pt x="673" y="623"/>
                      </a:cubicBezTo>
                      <a:cubicBezTo>
                        <a:pt x="675" y="618"/>
                        <a:pt x="680" y="615"/>
                        <a:pt x="680" y="608"/>
                      </a:cubicBezTo>
                      <a:cubicBezTo>
                        <a:pt x="678" y="610"/>
                        <a:pt x="677" y="612"/>
                        <a:pt x="675" y="614"/>
                      </a:cubicBezTo>
                      <a:cubicBezTo>
                        <a:pt x="673" y="613"/>
                        <a:pt x="673" y="613"/>
                        <a:pt x="673" y="613"/>
                      </a:cubicBezTo>
                      <a:cubicBezTo>
                        <a:pt x="673" y="607"/>
                        <a:pt x="673" y="607"/>
                        <a:pt x="673" y="607"/>
                      </a:cubicBezTo>
                      <a:cubicBezTo>
                        <a:pt x="674" y="606"/>
                        <a:pt x="674" y="606"/>
                        <a:pt x="674" y="606"/>
                      </a:cubicBezTo>
                      <a:cubicBezTo>
                        <a:pt x="675" y="604"/>
                        <a:pt x="676" y="601"/>
                        <a:pt x="677" y="599"/>
                      </a:cubicBezTo>
                      <a:cubicBezTo>
                        <a:pt x="676" y="597"/>
                        <a:pt x="676" y="597"/>
                        <a:pt x="676" y="597"/>
                      </a:cubicBezTo>
                      <a:cubicBezTo>
                        <a:pt x="680" y="594"/>
                        <a:pt x="680" y="594"/>
                        <a:pt x="680" y="594"/>
                      </a:cubicBezTo>
                      <a:cubicBezTo>
                        <a:pt x="682" y="591"/>
                        <a:pt x="684" y="588"/>
                        <a:pt x="687" y="585"/>
                      </a:cubicBezTo>
                      <a:cubicBezTo>
                        <a:pt x="689" y="581"/>
                        <a:pt x="689" y="581"/>
                        <a:pt x="689" y="581"/>
                      </a:cubicBezTo>
                      <a:cubicBezTo>
                        <a:pt x="694" y="579"/>
                        <a:pt x="694" y="579"/>
                        <a:pt x="694" y="579"/>
                      </a:cubicBezTo>
                      <a:cubicBezTo>
                        <a:pt x="698" y="579"/>
                        <a:pt x="698" y="579"/>
                        <a:pt x="698" y="579"/>
                      </a:cubicBezTo>
                      <a:cubicBezTo>
                        <a:pt x="702" y="580"/>
                        <a:pt x="702" y="580"/>
                        <a:pt x="702" y="580"/>
                      </a:cubicBezTo>
                      <a:cubicBezTo>
                        <a:pt x="701" y="584"/>
                        <a:pt x="701" y="584"/>
                        <a:pt x="701" y="584"/>
                      </a:cubicBezTo>
                      <a:cubicBezTo>
                        <a:pt x="700" y="585"/>
                        <a:pt x="700" y="585"/>
                        <a:pt x="700" y="585"/>
                      </a:cubicBezTo>
                      <a:cubicBezTo>
                        <a:pt x="700" y="587"/>
                        <a:pt x="698" y="590"/>
                        <a:pt x="695" y="592"/>
                      </a:cubicBezTo>
                      <a:cubicBezTo>
                        <a:pt x="701" y="591"/>
                        <a:pt x="705" y="592"/>
                        <a:pt x="706" y="594"/>
                      </a:cubicBezTo>
                      <a:cubicBezTo>
                        <a:pt x="708" y="595"/>
                        <a:pt x="708" y="595"/>
                        <a:pt x="708" y="595"/>
                      </a:cubicBezTo>
                      <a:cubicBezTo>
                        <a:pt x="708" y="600"/>
                        <a:pt x="708" y="600"/>
                        <a:pt x="708" y="600"/>
                      </a:cubicBezTo>
                      <a:cubicBezTo>
                        <a:pt x="707" y="601"/>
                        <a:pt x="707" y="601"/>
                        <a:pt x="707" y="601"/>
                      </a:cubicBezTo>
                      <a:cubicBezTo>
                        <a:pt x="706" y="603"/>
                        <a:pt x="704" y="605"/>
                        <a:pt x="702" y="607"/>
                      </a:cubicBezTo>
                      <a:cubicBezTo>
                        <a:pt x="702" y="607"/>
                        <a:pt x="702" y="607"/>
                        <a:pt x="702" y="607"/>
                      </a:cubicBezTo>
                      <a:cubicBezTo>
                        <a:pt x="701" y="610"/>
                        <a:pt x="701" y="610"/>
                        <a:pt x="701" y="610"/>
                      </a:cubicBezTo>
                      <a:cubicBezTo>
                        <a:pt x="698" y="610"/>
                        <a:pt x="698" y="610"/>
                        <a:pt x="698" y="610"/>
                      </a:cubicBezTo>
                      <a:cubicBezTo>
                        <a:pt x="697" y="611"/>
                        <a:pt x="695" y="612"/>
                        <a:pt x="693" y="613"/>
                      </a:cubicBezTo>
                      <a:cubicBezTo>
                        <a:pt x="694" y="614"/>
                        <a:pt x="696" y="616"/>
                        <a:pt x="697" y="618"/>
                      </a:cubicBezTo>
                      <a:cubicBezTo>
                        <a:pt x="701" y="622"/>
                        <a:pt x="701" y="622"/>
                        <a:pt x="701" y="622"/>
                      </a:cubicBezTo>
                      <a:cubicBezTo>
                        <a:pt x="703" y="629"/>
                        <a:pt x="703" y="629"/>
                        <a:pt x="703" y="629"/>
                      </a:cubicBezTo>
                      <a:cubicBezTo>
                        <a:pt x="703" y="631"/>
                        <a:pt x="703" y="631"/>
                        <a:pt x="703" y="631"/>
                      </a:cubicBezTo>
                      <a:cubicBezTo>
                        <a:pt x="705" y="637"/>
                        <a:pt x="707" y="644"/>
                        <a:pt x="707" y="650"/>
                      </a:cubicBezTo>
                      <a:cubicBezTo>
                        <a:pt x="708" y="651"/>
                        <a:pt x="708" y="651"/>
                        <a:pt x="708" y="651"/>
                      </a:cubicBezTo>
                      <a:cubicBezTo>
                        <a:pt x="708" y="652"/>
                        <a:pt x="708" y="652"/>
                        <a:pt x="708" y="652"/>
                      </a:cubicBezTo>
                      <a:cubicBezTo>
                        <a:pt x="708" y="655"/>
                        <a:pt x="707" y="658"/>
                        <a:pt x="707" y="661"/>
                      </a:cubicBezTo>
                      <a:cubicBezTo>
                        <a:pt x="707" y="664"/>
                        <a:pt x="707" y="664"/>
                        <a:pt x="707" y="664"/>
                      </a:cubicBezTo>
                      <a:cubicBezTo>
                        <a:pt x="706" y="666"/>
                        <a:pt x="706" y="666"/>
                        <a:pt x="706" y="666"/>
                      </a:cubicBezTo>
                      <a:cubicBezTo>
                        <a:pt x="703" y="667"/>
                        <a:pt x="703" y="667"/>
                        <a:pt x="703" y="667"/>
                      </a:cubicBezTo>
                      <a:cubicBezTo>
                        <a:pt x="705" y="669"/>
                        <a:pt x="708" y="671"/>
                        <a:pt x="710" y="673"/>
                      </a:cubicBezTo>
                      <a:cubicBezTo>
                        <a:pt x="712" y="673"/>
                        <a:pt x="712" y="673"/>
                        <a:pt x="712" y="673"/>
                      </a:cubicBezTo>
                      <a:cubicBezTo>
                        <a:pt x="715" y="677"/>
                        <a:pt x="715" y="677"/>
                        <a:pt x="715" y="677"/>
                      </a:cubicBezTo>
                      <a:cubicBezTo>
                        <a:pt x="715" y="688"/>
                        <a:pt x="715" y="688"/>
                        <a:pt x="715" y="688"/>
                      </a:cubicBezTo>
                      <a:cubicBezTo>
                        <a:pt x="714" y="689"/>
                        <a:pt x="714" y="689"/>
                        <a:pt x="714" y="689"/>
                      </a:cubicBezTo>
                      <a:cubicBezTo>
                        <a:pt x="713" y="690"/>
                        <a:pt x="713" y="690"/>
                        <a:pt x="712" y="691"/>
                      </a:cubicBezTo>
                      <a:cubicBezTo>
                        <a:pt x="711" y="693"/>
                        <a:pt x="711" y="693"/>
                        <a:pt x="711" y="693"/>
                      </a:cubicBezTo>
                      <a:cubicBezTo>
                        <a:pt x="710" y="693"/>
                        <a:pt x="710" y="693"/>
                        <a:pt x="710" y="693"/>
                      </a:cubicBezTo>
                      <a:cubicBezTo>
                        <a:pt x="709" y="694"/>
                        <a:pt x="707" y="695"/>
                        <a:pt x="704" y="696"/>
                      </a:cubicBezTo>
                      <a:lnTo>
                        <a:pt x="708" y="700"/>
                      </a:lnTo>
                      <a:close/>
                      <a:moveTo>
                        <a:pt x="627" y="627"/>
                      </a:moveTo>
                      <a:cubicBezTo>
                        <a:pt x="630" y="622"/>
                        <a:pt x="630" y="622"/>
                        <a:pt x="630" y="622"/>
                      </a:cubicBezTo>
                      <a:cubicBezTo>
                        <a:pt x="631" y="621"/>
                        <a:pt x="631" y="621"/>
                        <a:pt x="632" y="620"/>
                      </a:cubicBezTo>
                      <a:cubicBezTo>
                        <a:pt x="635" y="617"/>
                        <a:pt x="638" y="616"/>
                        <a:pt x="643" y="615"/>
                      </a:cubicBezTo>
                      <a:cubicBezTo>
                        <a:pt x="643" y="614"/>
                        <a:pt x="643" y="614"/>
                        <a:pt x="643" y="614"/>
                      </a:cubicBezTo>
                      <a:cubicBezTo>
                        <a:pt x="649" y="614"/>
                        <a:pt x="649" y="614"/>
                        <a:pt x="649" y="614"/>
                      </a:cubicBezTo>
                      <a:cubicBezTo>
                        <a:pt x="650" y="616"/>
                        <a:pt x="650" y="616"/>
                        <a:pt x="650" y="616"/>
                      </a:cubicBezTo>
                      <a:cubicBezTo>
                        <a:pt x="651" y="616"/>
                        <a:pt x="652" y="616"/>
                        <a:pt x="653" y="616"/>
                      </a:cubicBezTo>
                      <a:cubicBezTo>
                        <a:pt x="655" y="616"/>
                        <a:pt x="655" y="616"/>
                        <a:pt x="655" y="616"/>
                      </a:cubicBezTo>
                      <a:cubicBezTo>
                        <a:pt x="662" y="618"/>
                        <a:pt x="662" y="618"/>
                        <a:pt x="662" y="618"/>
                      </a:cubicBezTo>
                      <a:cubicBezTo>
                        <a:pt x="663" y="621"/>
                        <a:pt x="663" y="623"/>
                        <a:pt x="662" y="626"/>
                      </a:cubicBezTo>
                      <a:cubicBezTo>
                        <a:pt x="663" y="629"/>
                        <a:pt x="663" y="629"/>
                        <a:pt x="663" y="629"/>
                      </a:cubicBezTo>
                      <a:cubicBezTo>
                        <a:pt x="661" y="631"/>
                        <a:pt x="661" y="631"/>
                        <a:pt x="661" y="631"/>
                      </a:cubicBezTo>
                      <a:cubicBezTo>
                        <a:pt x="660" y="634"/>
                        <a:pt x="658" y="638"/>
                        <a:pt x="656" y="642"/>
                      </a:cubicBezTo>
                      <a:cubicBezTo>
                        <a:pt x="655" y="646"/>
                        <a:pt x="655" y="646"/>
                        <a:pt x="655" y="646"/>
                      </a:cubicBezTo>
                      <a:cubicBezTo>
                        <a:pt x="643" y="659"/>
                        <a:pt x="643" y="659"/>
                        <a:pt x="643" y="659"/>
                      </a:cubicBezTo>
                      <a:cubicBezTo>
                        <a:pt x="634" y="661"/>
                        <a:pt x="634" y="661"/>
                        <a:pt x="634" y="661"/>
                      </a:cubicBezTo>
                      <a:cubicBezTo>
                        <a:pt x="630" y="661"/>
                        <a:pt x="630" y="661"/>
                        <a:pt x="630" y="661"/>
                      </a:cubicBezTo>
                      <a:cubicBezTo>
                        <a:pt x="626" y="662"/>
                        <a:pt x="622" y="661"/>
                        <a:pt x="619" y="659"/>
                      </a:cubicBezTo>
                      <a:cubicBezTo>
                        <a:pt x="616" y="659"/>
                        <a:pt x="616" y="659"/>
                        <a:pt x="616" y="659"/>
                      </a:cubicBezTo>
                      <a:cubicBezTo>
                        <a:pt x="615" y="652"/>
                        <a:pt x="615" y="652"/>
                        <a:pt x="615" y="652"/>
                      </a:cubicBezTo>
                      <a:cubicBezTo>
                        <a:pt x="614" y="646"/>
                        <a:pt x="614" y="646"/>
                        <a:pt x="614" y="646"/>
                      </a:cubicBezTo>
                      <a:cubicBezTo>
                        <a:pt x="616" y="645"/>
                        <a:pt x="616" y="645"/>
                        <a:pt x="616" y="645"/>
                      </a:cubicBezTo>
                      <a:cubicBezTo>
                        <a:pt x="618" y="643"/>
                        <a:pt x="621" y="642"/>
                        <a:pt x="623" y="640"/>
                      </a:cubicBezTo>
                      <a:cubicBezTo>
                        <a:pt x="626" y="637"/>
                        <a:pt x="626" y="637"/>
                        <a:pt x="626" y="637"/>
                      </a:cubicBezTo>
                      <a:cubicBezTo>
                        <a:pt x="629" y="636"/>
                        <a:pt x="629" y="636"/>
                        <a:pt x="629" y="636"/>
                      </a:cubicBezTo>
                      <a:cubicBezTo>
                        <a:pt x="629" y="630"/>
                        <a:pt x="629" y="630"/>
                        <a:pt x="629" y="630"/>
                      </a:cubicBezTo>
                      <a:lnTo>
                        <a:pt x="627" y="627"/>
                      </a:lnTo>
                      <a:close/>
                      <a:moveTo>
                        <a:pt x="631" y="451"/>
                      </a:moveTo>
                      <a:cubicBezTo>
                        <a:pt x="633" y="448"/>
                        <a:pt x="633" y="448"/>
                        <a:pt x="633" y="448"/>
                      </a:cubicBezTo>
                      <a:cubicBezTo>
                        <a:pt x="634" y="449"/>
                        <a:pt x="634" y="449"/>
                        <a:pt x="634" y="449"/>
                      </a:cubicBezTo>
                      <a:cubicBezTo>
                        <a:pt x="635" y="449"/>
                        <a:pt x="636" y="449"/>
                        <a:pt x="637" y="449"/>
                      </a:cubicBezTo>
                      <a:cubicBezTo>
                        <a:pt x="639" y="450"/>
                        <a:pt x="639" y="450"/>
                        <a:pt x="639" y="450"/>
                      </a:cubicBezTo>
                      <a:cubicBezTo>
                        <a:pt x="637" y="448"/>
                        <a:pt x="637" y="446"/>
                        <a:pt x="637" y="444"/>
                      </a:cubicBezTo>
                      <a:cubicBezTo>
                        <a:pt x="636" y="443"/>
                        <a:pt x="636" y="443"/>
                        <a:pt x="636" y="443"/>
                      </a:cubicBezTo>
                      <a:cubicBezTo>
                        <a:pt x="638" y="440"/>
                        <a:pt x="638" y="440"/>
                        <a:pt x="638" y="440"/>
                      </a:cubicBezTo>
                      <a:cubicBezTo>
                        <a:pt x="643" y="436"/>
                        <a:pt x="643" y="436"/>
                        <a:pt x="643" y="436"/>
                      </a:cubicBezTo>
                      <a:cubicBezTo>
                        <a:pt x="649" y="432"/>
                        <a:pt x="651" y="433"/>
                        <a:pt x="651" y="436"/>
                      </a:cubicBezTo>
                      <a:cubicBezTo>
                        <a:pt x="651" y="437"/>
                        <a:pt x="651" y="437"/>
                        <a:pt x="651" y="437"/>
                      </a:cubicBezTo>
                      <a:cubicBezTo>
                        <a:pt x="650" y="441"/>
                        <a:pt x="650" y="441"/>
                        <a:pt x="650" y="441"/>
                      </a:cubicBezTo>
                      <a:cubicBezTo>
                        <a:pt x="648" y="444"/>
                        <a:pt x="648" y="444"/>
                        <a:pt x="648" y="444"/>
                      </a:cubicBezTo>
                      <a:cubicBezTo>
                        <a:pt x="649" y="445"/>
                        <a:pt x="651" y="446"/>
                        <a:pt x="653" y="446"/>
                      </a:cubicBezTo>
                      <a:cubicBezTo>
                        <a:pt x="654" y="445"/>
                        <a:pt x="654" y="445"/>
                        <a:pt x="654" y="445"/>
                      </a:cubicBezTo>
                      <a:cubicBezTo>
                        <a:pt x="656" y="447"/>
                        <a:pt x="656" y="447"/>
                        <a:pt x="656" y="447"/>
                      </a:cubicBezTo>
                      <a:cubicBezTo>
                        <a:pt x="657" y="447"/>
                        <a:pt x="658" y="447"/>
                        <a:pt x="660" y="447"/>
                      </a:cubicBezTo>
                      <a:cubicBezTo>
                        <a:pt x="662" y="447"/>
                        <a:pt x="662" y="447"/>
                        <a:pt x="662" y="447"/>
                      </a:cubicBezTo>
                      <a:cubicBezTo>
                        <a:pt x="663" y="447"/>
                        <a:pt x="663" y="447"/>
                        <a:pt x="663" y="447"/>
                      </a:cubicBezTo>
                      <a:cubicBezTo>
                        <a:pt x="668" y="448"/>
                        <a:pt x="673" y="448"/>
                        <a:pt x="677" y="451"/>
                      </a:cubicBezTo>
                      <a:cubicBezTo>
                        <a:pt x="679" y="452"/>
                        <a:pt x="680" y="453"/>
                        <a:pt x="681" y="455"/>
                      </a:cubicBezTo>
                      <a:cubicBezTo>
                        <a:pt x="685" y="455"/>
                        <a:pt x="685" y="455"/>
                        <a:pt x="685" y="455"/>
                      </a:cubicBezTo>
                      <a:cubicBezTo>
                        <a:pt x="686" y="458"/>
                        <a:pt x="686" y="458"/>
                        <a:pt x="686" y="458"/>
                      </a:cubicBezTo>
                      <a:cubicBezTo>
                        <a:pt x="684" y="460"/>
                        <a:pt x="684" y="460"/>
                        <a:pt x="684" y="460"/>
                      </a:cubicBezTo>
                      <a:cubicBezTo>
                        <a:pt x="685" y="462"/>
                        <a:pt x="684" y="465"/>
                        <a:pt x="683" y="468"/>
                      </a:cubicBezTo>
                      <a:cubicBezTo>
                        <a:pt x="684" y="471"/>
                        <a:pt x="684" y="471"/>
                        <a:pt x="684" y="471"/>
                      </a:cubicBezTo>
                      <a:cubicBezTo>
                        <a:pt x="679" y="475"/>
                        <a:pt x="679" y="475"/>
                        <a:pt x="679" y="475"/>
                      </a:cubicBezTo>
                      <a:cubicBezTo>
                        <a:pt x="673" y="475"/>
                        <a:pt x="673" y="475"/>
                        <a:pt x="673" y="475"/>
                      </a:cubicBezTo>
                      <a:cubicBezTo>
                        <a:pt x="666" y="478"/>
                        <a:pt x="659" y="477"/>
                        <a:pt x="652" y="475"/>
                      </a:cubicBezTo>
                      <a:cubicBezTo>
                        <a:pt x="646" y="475"/>
                        <a:pt x="646" y="475"/>
                        <a:pt x="646" y="475"/>
                      </a:cubicBezTo>
                      <a:cubicBezTo>
                        <a:pt x="640" y="467"/>
                        <a:pt x="640" y="467"/>
                        <a:pt x="640" y="467"/>
                      </a:cubicBezTo>
                      <a:cubicBezTo>
                        <a:pt x="638" y="466"/>
                        <a:pt x="637" y="465"/>
                        <a:pt x="636" y="465"/>
                      </a:cubicBezTo>
                      <a:cubicBezTo>
                        <a:pt x="632" y="463"/>
                        <a:pt x="632" y="463"/>
                        <a:pt x="632" y="463"/>
                      </a:cubicBezTo>
                      <a:cubicBezTo>
                        <a:pt x="630" y="460"/>
                        <a:pt x="630" y="460"/>
                        <a:pt x="630" y="460"/>
                      </a:cubicBezTo>
                      <a:cubicBezTo>
                        <a:pt x="632" y="459"/>
                        <a:pt x="632" y="459"/>
                        <a:pt x="632" y="459"/>
                      </a:cubicBezTo>
                      <a:cubicBezTo>
                        <a:pt x="638" y="461"/>
                        <a:pt x="638" y="461"/>
                        <a:pt x="638" y="461"/>
                      </a:cubicBezTo>
                      <a:cubicBezTo>
                        <a:pt x="636" y="459"/>
                        <a:pt x="635" y="454"/>
                        <a:pt x="631" y="451"/>
                      </a:cubicBezTo>
                      <a:close/>
                      <a:moveTo>
                        <a:pt x="676" y="580"/>
                      </a:moveTo>
                      <a:cubicBezTo>
                        <a:pt x="674" y="579"/>
                        <a:pt x="674" y="579"/>
                        <a:pt x="674" y="579"/>
                      </a:cubicBezTo>
                      <a:cubicBezTo>
                        <a:pt x="679" y="572"/>
                        <a:pt x="679" y="572"/>
                        <a:pt x="679" y="572"/>
                      </a:cubicBezTo>
                      <a:cubicBezTo>
                        <a:pt x="681" y="572"/>
                        <a:pt x="681" y="572"/>
                        <a:pt x="681" y="572"/>
                      </a:cubicBezTo>
                      <a:cubicBezTo>
                        <a:pt x="681" y="575"/>
                        <a:pt x="681" y="575"/>
                        <a:pt x="681" y="575"/>
                      </a:cubicBezTo>
                      <a:lnTo>
                        <a:pt x="676" y="580"/>
                      </a:lnTo>
                      <a:close/>
                      <a:moveTo>
                        <a:pt x="679" y="584"/>
                      </a:moveTo>
                      <a:cubicBezTo>
                        <a:pt x="678" y="590"/>
                        <a:pt x="678" y="590"/>
                        <a:pt x="678" y="590"/>
                      </a:cubicBezTo>
                      <a:cubicBezTo>
                        <a:pt x="677" y="591"/>
                        <a:pt x="677" y="591"/>
                        <a:pt x="677" y="591"/>
                      </a:cubicBezTo>
                      <a:cubicBezTo>
                        <a:pt x="676" y="585"/>
                        <a:pt x="676" y="585"/>
                        <a:pt x="676" y="585"/>
                      </a:cubicBezTo>
                      <a:cubicBezTo>
                        <a:pt x="677" y="583"/>
                        <a:pt x="677" y="583"/>
                        <a:pt x="677" y="583"/>
                      </a:cubicBezTo>
                      <a:lnTo>
                        <a:pt x="679" y="584"/>
                      </a:lnTo>
                      <a:close/>
                      <a:moveTo>
                        <a:pt x="674" y="601"/>
                      </a:moveTo>
                      <a:cubicBezTo>
                        <a:pt x="673" y="603"/>
                        <a:pt x="673" y="603"/>
                        <a:pt x="673" y="603"/>
                      </a:cubicBezTo>
                      <a:cubicBezTo>
                        <a:pt x="671" y="603"/>
                        <a:pt x="671" y="603"/>
                        <a:pt x="671" y="603"/>
                      </a:cubicBezTo>
                      <a:lnTo>
                        <a:pt x="674" y="601"/>
                      </a:lnTo>
                      <a:close/>
                      <a:moveTo>
                        <a:pt x="669" y="652"/>
                      </a:moveTo>
                      <a:cubicBezTo>
                        <a:pt x="667" y="653"/>
                        <a:pt x="667" y="653"/>
                        <a:pt x="667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6" y="653"/>
                        <a:pt x="666" y="653"/>
                      </a:cubicBezTo>
                      <a:cubicBezTo>
                        <a:pt x="666" y="653"/>
                        <a:pt x="665" y="652"/>
                        <a:pt x="665" y="651"/>
                      </a:cubicBezTo>
                      <a:cubicBezTo>
                        <a:pt x="666" y="650"/>
                        <a:pt x="667" y="650"/>
                        <a:pt x="667" y="650"/>
                      </a:cubicBezTo>
                      <a:cubicBezTo>
                        <a:pt x="668" y="650"/>
                        <a:pt x="668" y="650"/>
                        <a:pt x="668" y="650"/>
                      </a:cubicBezTo>
                      <a:lnTo>
                        <a:pt x="669" y="652"/>
                      </a:lnTo>
                      <a:close/>
                      <a:moveTo>
                        <a:pt x="672" y="637"/>
                      </a:moveTo>
                      <a:cubicBezTo>
                        <a:pt x="675" y="637"/>
                        <a:pt x="675" y="637"/>
                        <a:pt x="675" y="637"/>
                      </a:cubicBezTo>
                      <a:cubicBezTo>
                        <a:pt x="673" y="639"/>
                        <a:pt x="673" y="639"/>
                        <a:pt x="673" y="639"/>
                      </a:cubicBezTo>
                      <a:cubicBezTo>
                        <a:pt x="672" y="638"/>
                        <a:pt x="672" y="638"/>
                        <a:pt x="672" y="638"/>
                      </a:cubicBezTo>
                      <a:lnTo>
                        <a:pt x="672" y="637"/>
                      </a:lnTo>
                      <a:close/>
                      <a:moveTo>
                        <a:pt x="702" y="576"/>
                      </a:moveTo>
                      <a:cubicBezTo>
                        <a:pt x="707" y="573"/>
                        <a:pt x="707" y="573"/>
                        <a:pt x="707" y="573"/>
                      </a:cubicBezTo>
                      <a:cubicBezTo>
                        <a:pt x="707" y="575"/>
                        <a:pt x="707" y="575"/>
                        <a:pt x="707" y="575"/>
                      </a:cubicBezTo>
                      <a:cubicBezTo>
                        <a:pt x="706" y="576"/>
                        <a:pt x="706" y="576"/>
                        <a:pt x="706" y="576"/>
                      </a:cubicBezTo>
                      <a:cubicBezTo>
                        <a:pt x="706" y="576"/>
                        <a:pt x="705" y="577"/>
                        <a:pt x="705" y="577"/>
                      </a:cubicBezTo>
                      <a:cubicBezTo>
                        <a:pt x="703" y="578"/>
                        <a:pt x="703" y="578"/>
                        <a:pt x="703" y="578"/>
                      </a:cubicBezTo>
                      <a:lnTo>
                        <a:pt x="702" y="576"/>
                      </a:lnTo>
                      <a:close/>
                      <a:moveTo>
                        <a:pt x="594" y="305"/>
                      </a:moveTo>
                      <a:cubicBezTo>
                        <a:pt x="595" y="301"/>
                        <a:pt x="595" y="301"/>
                        <a:pt x="595" y="301"/>
                      </a:cubicBezTo>
                      <a:cubicBezTo>
                        <a:pt x="597" y="300"/>
                        <a:pt x="597" y="300"/>
                        <a:pt x="597" y="300"/>
                      </a:cubicBezTo>
                      <a:cubicBezTo>
                        <a:pt x="598" y="299"/>
                        <a:pt x="598" y="299"/>
                        <a:pt x="599" y="298"/>
                      </a:cubicBezTo>
                      <a:cubicBezTo>
                        <a:pt x="601" y="297"/>
                        <a:pt x="601" y="297"/>
                        <a:pt x="601" y="297"/>
                      </a:cubicBezTo>
                      <a:cubicBezTo>
                        <a:pt x="604" y="297"/>
                        <a:pt x="604" y="297"/>
                        <a:pt x="604" y="297"/>
                      </a:cubicBezTo>
                      <a:cubicBezTo>
                        <a:pt x="602" y="301"/>
                        <a:pt x="602" y="301"/>
                        <a:pt x="602" y="301"/>
                      </a:cubicBezTo>
                      <a:cubicBezTo>
                        <a:pt x="598" y="304"/>
                        <a:pt x="598" y="304"/>
                        <a:pt x="598" y="304"/>
                      </a:cubicBezTo>
                      <a:cubicBezTo>
                        <a:pt x="597" y="305"/>
                        <a:pt x="596" y="306"/>
                        <a:pt x="595" y="307"/>
                      </a:cubicBezTo>
                      <a:lnTo>
                        <a:pt x="594" y="305"/>
                      </a:lnTo>
                      <a:close/>
                      <a:moveTo>
                        <a:pt x="619" y="230"/>
                      </a:moveTo>
                      <a:cubicBezTo>
                        <a:pt x="620" y="229"/>
                        <a:pt x="621" y="228"/>
                        <a:pt x="622" y="227"/>
                      </a:cubicBezTo>
                      <a:cubicBezTo>
                        <a:pt x="625" y="233"/>
                        <a:pt x="621" y="230"/>
                        <a:pt x="619" y="230"/>
                      </a:cubicBezTo>
                      <a:close/>
                      <a:moveTo>
                        <a:pt x="630" y="212"/>
                      </a:moveTo>
                      <a:cubicBezTo>
                        <a:pt x="642" y="207"/>
                        <a:pt x="643" y="216"/>
                        <a:pt x="631" y="219"/>
                      </a:cubicBezTo>
                      <a:cubicBezTo>
                        <a:pt x="630" y="217"/>
                        <a:pt x="630" y="214"/>
                        <a:pt x="630" y="212"/>
                      </a:cubicBezTo>
                      <a:close/>
                      <a:moveTo>
                        <a:pt x="695" y="173"/>
                      </a:moveTo>
                      <a:cubicBezTo>
                        <a:pt x="697" y="179"/>
                        <a:pt x="688" y="183"/>
                        <a:pt x="681" y="183"/>
                      </a:cubicBezTo>
                      <a:cubicBezTo>
                        <a:pt x="671" y="185"/>
                        <a:pt x="677" y="204"/>
                        <a:pt x="668" y="207"/>
                      </a:cubicBezTo>
                      <a:cubicBezTo>
                        <a:pt x="656" y="211"/>
                        <a:pt x="661" y="198"/>
                        <a:pt x="666" y="190"/>
                      </a:cubicBezTo>
                      <a:cubicBezTo>
                        <a:pt x="674" y="176"/>
                        <a:pt x="679" y="177"/>
                        <a:pt x="695" y="173"/>
                      </a:cubicBezTo>
                      <a:close/>
                      <a:moveTo>
                        <a:pt x="673" y="173"/>
                      </a:moveTo>
                      <a:cubicBezTo>
                        <a:pt x="675" y="172"/>
                        <a:pt x="674" y="169"/>
                        <a:pt x="678" y="169"/>
                      </a:cubicBezTo>
                      <a:cubicBezTo>
                        <a:pt x="679" y="170"/>
                        <a:pt x="679" y="171"/>
                        <a:pt x="680" y="172"/>
                      </a:cubicBezTo>
                      <a:cubicBezTo>
                        <a:pt x="677" y="174"/>
                        <a:pt x="674" y="173"/>
                        <a:pt x="673" y="173"/>
                      </a:cubicBezTo>
                      <a:close/>
                      <a:moveTo>
                        <a:pt x="681" y="149"/>
                      </a:moveTo>
                      <a:cubicBezTo>
                        <a:pt x="682" y="148"/>
                        <a:pt x="682" y="143"/>
                        <a:pt x="688" y="143"/>
                      </a:cubicBezTo>
                      <a:cubicBezTo>
                        <a:pt x="687" y="147"/>
                        <a:pt x="684" y="146"/>
                        <a:pt x="681" y="149"/>
                      </a:cubicBezTo>
                      <a:close/>
                      <a:moveTo>
                        <a:pt x="689" y="166"/>
                      </a:moveTo>
                      <a:cubicBezTo>
                        <a:pt x="690" y="163"/>
                        <a:pt x="693" y="159"/>
                        <a:pt x="696" y="157"/>
                      </a:cubicBezTo>
                      <a:cubicBezTo>
                        <a:pt x="699" y="157"/>
                        <a:pt x="701" y="156"/>
                        <a:pt x="704" y="158"/>
                      </a:cubicBezTo>
                      <a:cubicBezTo>
                        <a:pt x="702" y="166"/>
                        <a:pt x="696" y="168"/>
                        <a:pt x="689" y="166"/>
                      </a:cubicBezTo>
                      <a:close/>
                      <a:moveTo>
                        <a:pt x="665" y="163"/>
                      </a:moveTo>
                      <a:cubicBezTo>
                        <a:pt x="659" y="161"/>
                        <a:pt x="656" y="161"/>
                        <a:pt x="650" y="164"/>
                      </a:cubicBezTo>
                      <a:cubicBezTo>
                        <a:pt x="640" y="167"/>
                        <a:pt x="641" y="155"/>
                        <a:pt x="650" y="151"/>
                      </a:cubicBezTo>
                      <a:cubicBezTo>
                        <a:pt x="655" y="150"/>
                        <a:pt x="658" y="148"/>
                        <a:pt x="661" y="155"/>
                      </a:cubicBezTo>
                      <a:cubicBezTo>
                        <a:pt x="670" y="152"/>
                        <a:pt x="668" y="158"/>
                        <a:pt x="665" y="163"/>
                      </a:cubicBezTo>
                      <a:close/>
                      <a:moveTo>
                        <a:pt x="657" y="170"/>
                      </a:moveTo>
                      <a:cubicBezTo>
                        <a:pt x="663" y="175"/>
                        <a:pt x="665" y="180"/>
                        <a:pt x="653" y="177"/>
                      </a:cubicBezTo>
                      <a:cubicBezTo>
                        <a:pt x="633" y="173"/>
                        <a:pt x="645" y="165"/>
                        <a:pt x="657" y="170"/>
                      </a:cubicBezTo>
                      <a:close/>
                      <a:moveTo>
                        <a:pt x="763" y="219"/>
                      </a:moveTo>
                      <a:cubicBezTo>
                        <a:pt x="754" y="224"/>
                        <a:pt x="739" y="219"/>
                        <a:pt x="728" y="213"/>
                      </a:cubicBezTo>
                      <a:cubicBezTo>
                        <a:pt x="708" y="202"/>
                        <a:pt x="667" y="216"/>
                        <a:pt x="687" y="187"/>
                      </a:cubicBezTo>
                      <a:cubicBezTo>
                        <a:pt x="693" y="190"/>
                        <a:pt x="698" y="190"/>
                        <a:pt x="703" y="188"/>
                      </a:cubicBezTo>
                      <a:cubicBezTo>
                        <a:pt x="702" y="190"/>
                        <a:pt x="701" y="192"/>
                        <a:pt x="698" y="194"/>
                      </a:cubicBezTo>
                      <a:cubicBezTo>
                        <a:pt x="710" y="199"/>
                        <a:pt x="738" y="188"/>
                        <a:pt x="743" y="207"/>
                      </a:cubicBezTo>
                      <a:cubicBezTo>
                        <a:pt x="743" y="201"/>
                        <a:pt x="745" y="197"/>
                        <a:pt x="751" y="196"/>
                      </a:cubicBezTo>
                      <a:cubicBezTo>
                        <a:pt x="751" y="190"/>
                        <a:pt x="751" y="193"/>
                        <a:pt x="754" y="189"/>
                      </a:cubicBezTo>
                      <a:cubicBezTo>
                        <a:pt x="759" y="195"/>
                        <a:pt x="772" y="213"/>
                        <a:pt x="763" y="219"/>
                      </a:cubicBezTo>
                      <a:close/>
                      <a:moveTo>
                        <a:pt x="708" y="175"/>
                      </a:moveTo>
                      <a:cubicBezTo>
                        <a:pt x="711" y="173"/>
                        <a:pt x="711" y="171"/>
                        <a:pt x="717" y="173"/>
                      </a:cubicBezTo>
                      <a:cubicBezTo>
                        <a:pt x="717" y="174"/>
                        <a:pt x="718" y="175"/>
                        <a:pt x="718" y="176"/>
                      </a:cubicBezTo>
                      <a:cubicBezTo>
                        <a:pt x="713" y="178"/>
                        <a:pt x="712" y="176"/>
                        <a:pt x="708" y="175"/>
                      </a:cubicBezTo>
                      <a:close/>
                      <a:moveTo>
                        <a:pt x="746" y="145"/>
                      </a:moveTo>
                      <a:cubicBezTo>
                        <a:pt x="750" y="146"/>
                        <a:pt x="753" y="144"/>
                        <a:pt x="756" y="149"/>
                      </a:cubicBezTo>
                      <a:cubicBezTo>
                        <a:pt x="751" y="151"/>
                        <a:pt x="750" y="148"/>
                        <a:pt x="746" y="145"/>
                      </a:cubicBezTo>
                      <a:close/>
                      <a:moveTo>
                        <a:pt x="745" y="127"/>
                      </a:moveTo>
                      <a:cubicBezTo>
                        <a:pt x="750" y="127"/>
                        <a:pt x="750" y="125"/>
                        <a:pt x="755" y="124"/>
                      </a:cubicBezTo>
                      <a:cubicBezTo>
                        <a:pt x="763" y="140"/>
                        <a:pt x="740" y="143"/>
                        <a:pt x="745" y="127"/>
                      </a:cubicBezTo>
                      <a:close/>
                      <a:moveTo>
                        <a:pt x="749" y="185"/>
                      </a:moveTo>
                      <a:cubicBezTo>
                        <a:pt x="741" y="190"/>
                        <a:pt x="708" y="197"/>
                        <a:pt x="710" y="184"/>
                      </a:cubicBezTo>
                      <a:cubicBezTo>
                        <a:pt x="722" y="182"/>
                        <a:pt x="740" y="171"/>
                        <a:pt x="749" y="185"/>
                      </a:cubicBezTo>
                      <a:close/>
                      <a:moveTo>
                        <a:pt x="711" y="165"/>
                      </a:moveTo>
                      <a:cubicBezTo>
                        <a:pt x="714" y="156"/>
                        <a:pt x="730" y="160"/>
                        <a:pt x="738" y="160"/>
                      </a:cubicBezTo>
                      <a:cubicBezTo>
                        <a:pt x="733" y="167"/>
                        <a:pt x="722" y="168"/>
                        <a:pt x="711" y="165"/>
                      </a:cubicBezTo>
                      <a:close/>
                      <a:moveTo>
                        <a:pt x="710" y="159"/>
                      </a:moveTo>
                      <a:cubicBezTo>
                        <a:pt x="711" y="156"/>
                        <a:pt x="713" y="157"/>
                        <a:pt x="715" y="155"/>
                      </a:cubicBezTo>
                      <a:cubicBezTo>
                        <a:pt x="714" y="157"/>
                        <a:pt x="715" y="160"/>
                        <a:pt x="710" y="159"/>
                      </a:cubicBezTo>
                      <a:close/>
                      <a:moveTo>
                        <a:pt x="726" y="139"/>
                      </a:moveTo>
                      <a:cubicBezTo>
                        <a:pt x="729" y="148"/>
                        <a:pt x="713" y="148"/>
                        <a:pt x="708" y="142"/>
                      </a:cubicBezTo>
                      <a:cubicBezTo>
                        <a:pt x="711" y="133"/>
                        <a:pt x="716" y="129"/>
                        <a:pt x="726" y="130"/>
                      </a:cubicBezTo>
                      <a:cubicBezTo>
                        <a:pt x="735" y="132"/>
                        <a:pt x="736" y="137"/>
                        <a:pt x="726" y="139"/>
                      </a:cubicBezTo>
                      <a:close/>
                      <a:moveTo>
                        <a:pt x="708" y="151"/>
                      </a:moveTo>
                      <a:cubicBezTo>
                        <a:pt x="703" y="152"/>
                        <a:pt x="705" y="149"/>
                        <a:pt x="703" y="147"/>
                      </a:cubicBezTo>
                      <a:cubicBezTo>
                        <a:pt x="705" y="149"/>
                        <a:pt x="707" y="147"/>
                        <a:pt x="708" y="151"/>
                      </a:cubicBezTo>
                      <a:close/>
                      <a:moveTo>
                        <a:pt x="645" y="194"/>
                      </a:moveTo>
                      <a:cubicBezTo>
                        <a:pt x="639" y="193"/>
                        <a:pt x="633" y="192"/>
                        <a:pt x="627" y="189"/>
                      </a:cubicBezTo>
                      <a:cubicBezTo>
                        <a:pt x="634" y="186"/>
                        <a:pt x="643" y="187"/>
                        <a:pt x="645" y="194"/>
                      </a:cubicBezTo>
                      <a:close/>
                      <a:moveTo>
                        <a:pt x="670" y="877"/>
                      </a:moveTo>
                      <a:cubicBezTo>
                        <a:pt x="673" y="874"/>
                        <a:pt x="673" y="874"/>
                        <a:pt x="673" y="874"/>
                      </a:cubicBezTo>
                      <a:cubicBezTo>
                        <a:pt x="674" y="874"/>
                        <a:pt x="674" y="874"/>
                        <a:pt x="674" y="874"/>
                      </a:cubicBezTo>
                      <a:cubicBezTo>
                        <a:pt x="675" y="874"/>
                        <a:pt x="675" y="874"/>
                        <a:pt x="676" y="875"/>
                      </a:cubicBezTo>
                      <a:cubicBezTo>
                        <a:pt x="676" y="877"/>
                        <a:pt x="676" y="877"/>
                        <a:pt x="676" y="877"/>
                      </a:cubicBezTo>
                      <a:cubicBezTo>
                        <a:pt x="675" y="877"/>
                        <a:pt x="675" y="877"/>
                        <a:pt x="675" y="877"/>
                      </a:cubicBezTo>
                      <a:cubicBezTo>
                        <a:pt x="675" y="878"/>
                        <a:pt x="675" y="878"/>
                        <a:pt x="674" y="878"/>
                      </a:cubicBezTo>
                      <a:cubicBezTo>
                        <a:pt x="673" y="878"/>
                        <a:pt x="673" y="878"/>
                        <a:pt x="673" y="878"/>
                      </a:cubicBezTo>
                      <a:lnTo>
                        <a:pt x="670" y="877"/>
                      </a:lnTo>
                      <a:close/>
                      <a:moveTo>
                        <a:pt x="683" y="869"/>
                      </a:moveTo>
                      <a:cubicBezTo>
                        <a:pt x="686" y="867"/>
                        <a:pt x="686" y="867"/>
                        <a:pt x="686" y="867"/>
                      </a:cubicBezTo>
                      <a:cubicBezTo>
                        <a:pt x="689" y="867"/>
                        <a:pt x="689" y="867"/>
                        <a:pt x="689" y="867"/>
                      </a:cubicBezTo>
                      <a:cubicBezTo>
                        <a:pt x="689" y="868"/>
                        <a:pt x="689" y="868"/>
                        <a:pt x="689" y="868"/>
                      </a:cubicBezTo>
                      <a:cubicBezTo>
                        <a:pt x="691" y="868"/>
                        <a:pt x="692" y="869"/>
                        <a:pt x="693" y="871"/>
                      </a:cubicBezTo>
                      <a:cubicBezTo>
                        <a:pt x="691" y="874"/>
                        <a:pt x="691" y="874"/>
                        <a:pt x="691" y="874"/>
                      </a:cubicBezTo>
                      <a:cubicBezTo>
                        <a:pt x="687" y="874"/>
                        <a:pt x="687" y="874"/>
                        <a:pt x="687" y="874"/>
                      </a:cubicBezTo>
                      <a:cubicBezTo>
                        <a:pt x="687" y="873"/>
                        <a:pt x="687" y="873"/>
                        <a:pt x="687" y="873"/>
                      </a:cubicBezTo>
                      <a:cubicBezTo>
                        <a:pt x="686" y="873"/>
                        <a:pt x="686" y="872"/>
                        <a:pt x="685" y="872"/>
                      </a:cubicBezTo>
                      <a:cubicBezTo>
                        <a:pt x="683" y="872"/>
                        <a:pt x="683" y="872"/>
                        <a:pt x="683" y="872"/>
                      </a:cubicBezTo>
                      <a:lnTo>
                        <a:pt x="683" y="869"/>
                      </a:lnTo>
                      <a:close/>
                      <a:moveTo>
                        <a:pt x="699" y="869"/>
                      </a:moveTo>
                      <a:cubicBezTo>
                        <a:pt x="702" y="867"/>
                        <a:pt x="702" y="867"/>
                        <a:pt x="702" y="867"/>
                      </a:cubicBezTo>
                      <a:cubicBezTo>
                        <a:pt x="703" y="867"/>
                        <a:pt x="703" y="867"/>
                        <a:pt x="703" y="867"/>
                      </a:cubicBezTo>
                      <a:cubicBezTo>
                        <a:pt x="704" y="867"/>
                        <a:pt x="704" y="867"/>
                        <a:pt x="704" y="867"/>
                      </a:cubicBezTo>
                      <a:cubicBezTo>
                        <a:pt x="704" y="871"/>
                        <a:pt x="704" y="871"/>
                        <a:pt x="704" y="871"/>
                      </a:cubicBezTo>
                      <a:cubicBezTo>
                        <a:pt x="703" y="871"/>
                        <a:pt x="703" y="871"/>
                        <a:pt x="702" y="871"/>
                      </a:cubicBezTo>
                      <a:cubicBezTo>
                        <a:pt x="701" y="871"/>
                        <a:pt x="701" y="871"/>
                        <a:pt x="701" y="871"/>
                      </a:cubicBezTo>
                      <a:lnTo>
                        <a:pt x="699" y="869"/>
                      </a:lnTo>
                      <a:close/>
                      <a:moveTo>
                        <a:pt x="751" y="859"/>
                      </a:moveTo>
                      <a:cubicBezTo>
                        <a:pt x="752" y="856"/>
                        <a:pt x="752" y="856"/>
                        <a:pt x="752" y="856"/>
                      </a:cubicBezTo>
                      <a:cubicBezTo>
                        <a:pt x="756" y="855"/>
                        <a:pt x="760" y="855"/>
                        <a:pt x="762" y="856"/>
                      </a:cubicBezTo>
                      <a:cubicBezTo>
                        <a:pt x="764" y="856"/>
                        <a:pt x="764" y="856"/>
                        <a:pt x="764" y="856"/>
                      </a:cubicBezTo>
                      <a:cubicBezTo>
                        <a:pt x="769" y="861"/>
                        <a:pt x="769" y="861"/>
                        <a:pt x="769" y="861"/>
                      </a:cubicBezTo>
                      <a:cubicBezTo>
                        <a:pt x="767" y="864"/>
                        <a:pt x="767" y="864"/>
                        <a:pt x="767" y="864"/>
                      </a:cubicBezTo>
                      <a:cubicBezTo>
                        <a:pt x="766" y="872"/>
                        <a:pt x="766" y="872"/>
                        <a:pt x="766" y="872"/>
                      </a:cubicBezTo>
                      <a:cubicBezTo>
                        <a:pt x="764" y="875"/>
                        <a:pt x="764" y="875"/>
                        <a:pt x="764" y="875"/>
                      </a:cubicBezTo>
                      <a:cubicBezTo>
                        <a:pt x="763" y="879"/>
                        <a:pt x="762" y="882"/>
                        <a:pt x="763" y="886"/>
                      </a:cubicBezTo>
                      <a:cubicBezTo>
                        <a:pt x="763" y="886"/>
                        <a:pt x="763" y="886"/>
                        <a:pt x="763" y="886"/>
                      </a:cubicBezTo>
                      <a:cubicBezTo>
                        <a:pt x="763" y="889"/>
                        <a:pt x="763" y="889"/>
                        <a:pt x="763" y="889"/>
                      </a:cubicBezTo>
                      <a:cubicBezTo>
                        <a:pt x="763" y="889"/>
                        <a:pt x="763" y="889"/>
                        <a:pt x="763" y="889"/>
                      </a:cubicBezTo>
                      <a:cubicBezTo>
                        <a:pt x="762" y="892"/>
                        <a:pt x="761" y="893"/>
                        <a:pt x="759" y="892"/>
                      </a:cubicBezTo>
                      <a:cubicBezTo>
                        <a:pt x="753" y="892"/>
                        <a:pt x="753" y="892"/>
                        <a:pt x="753" y="892"/>
                      </a:cubicBezTo>
                      <a:cubicBezTo>
                        <a:pt x="750" y="883"/>
                        <a:pt x="750" y="883"/>
                        <a:pt x="750" y="883"/>
                      </a:cubicBezTo>
                      <a:cubicBezTo>
                        <a:pt x="749" y="879"/>
                        <a:pt x="751" y="868"/>
                        <a:pt x="752" y="860"/>
                      </a:cubicBezTo>
                      <a:lnTo>
                        <a:pt x="751" y="859"/>
                      </a:lnTo>
                      <a:close/>
                      <a:moveTo>
                        <a:pt x="760" y="836"/>
                      </a:moveTo>
                      <a:cubicBezTo>
                        <a:pt x="760" y="833"/>
                        <a:pt x="760" y="833"/>
                        <a:pt x="760" y="833"/>
                      </a:cubicBezTo>
                      <a:cubicBezTo>
                        <a:pt x="763" y="831"/>
                        <a:pt x="763" y="831"/>
                        <a:pt x="763" y="831"/>
                      </a:cubicBezTo>
                      <a:cubicBezTo>
                        <a:pt x="763" y="830"/>
                        <a:pt x="764" y="829"/>
                        <a:pt x="765" y="828"/>
                      </a:cubicBezTo>
                      <a:cubicBezTo>
                        <a:pt x="766" y="826"/>
                        <a:pt x="766" y="826"/>
                        <a:pt x="766" y="826"/>
                      </a:cubicBezTo>
                      <a:cubicBezTo>
                        <a:pt x="767" y="825"/>
                        <a:pt x="767" y="825"/>
                        <a:pt x="767" y="825"/>
                      </a:cubicBezTo>
                      <a:cubicBezTo>
                        <a:pt x="768" y="827"/>
                        <a:pt x="768" y="827"/>
                        <a:pt x="768" y="827"/>
                      </a:cubicBezTo>
                      <a:cubicBezTo>
                        <a:pt x="766" y="836"/>
                        <a:pt x="766" y="836"/>
                        <a:pt x="766" y="836"/>
                      </a:cubicBezTo>
                      <a:cubicBezTo>
                        <a:pt x="766" y="845"/>
                        <a:pt x="766" y="845"/>
                        <a:pt x="766" y="845"/>
                      </a:cubicBezTo>
                      <a:cubicBezTo>
                        <a:pt x="762" y="848"/>
                        <a:pt x="762" y="848"/>
                        <a:pt x="762" y="848"/>
                      </a:cubicBezTo>
                      <a:cubicBezTo>
                        <a:pt x="760" y="847"/>
                        <a:pt x="760" y="847"/>
                        <a:pt x="760" y="847"/>
                      </a:cubicBezTo>
                      <a:cubicBezTo>
                        <a:pt x="759" y="843"/>
                        <a:pt x="759" y="843"/>
                        <a:pt x="759" y="843"/>
                      </a:cubicBezTo>
                      <a:cubicBezTo>
                        <a:pt x="758" y="841"/>
                        <a:pt x="758" y="839"/>
                        <a:pt x="760" y="836"/>
                      </a:cubicBezTo>
                      <a:close/>
                      <a:moveTo>
                        <a:pt x="830" y="923"/>
                      </a:moveTo>
                      <a:cubicBezTo>
                        <a:pt x="831" y="923"/>
                        <a:pt x="831" y="923"/>
                        <a:pt x="831" y="923"/>
                      </a:cubicBezTo>
                      <a:cubicBezTo>
                        <a:pt x="831" y="927"/>
                        <a:pt x="831" y="927"/>
                        <a:pt x="831" y="927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8" y="930"/>
                        <a:pt x="828" y="930"/>
                        <a:pt x="828" y="930"/>
                      </a:cubicBezTo>
                      <a:cubicBezTo>
                        <a:pt x="826" y="933"/>
                        <a:pt x="826" y="933"/>
                        <a:pt x="826" y="933"/>
                      </a:cubicBezTo>
                      <a:cubicBezTo>
                        <a:pt x="822" y="933"/>
                        <a:pt x="822" y="933"/>
                        <a:pt x="822" y="933"/>
                      </a:cubicBezTo>
                      <a:cubicBezTo>
                        <a:pt x="821" y="932"/>
                        <a:pt x="821" y="932"/>
                        <a:pt x="821" y="932"/>
                      </a:cubicBezTo>
                      <a:cubicBezTo>
                        <a:pt x="819" y="932"/>
                        <a:pt x="816" y="930"/>
                        <a:pt x="813" y="929"/>
                      </a:cubicBezTo>
                      <a:cubicBezTo>
                        <a:pt x="810" y="928"/>
                        <a:pt x="810" y="928"/>
                        <a:pt x="810" y="928"/>
                      </a:cubicBezTo>
                      <a:cubicBezTo>
                        <a:pt x="806" y="925"/>
                        <a:pt x="806" y="925"/>
                        <a:pt x="806" y="925"/>
                      </a:cubicBezTo>
                      <a:cubicBezTo>
                        <a:pt x="804" y="924"/>
                        <a:pt x="803" y="924"/>
                        <a:pt x="802" y="924"/>
                      </a:cubicBezTo>
                      <a:cubicBezTo>
                        <a:pt x="800" y="924"/>
                        <a:pt x="800" y="924"/>
                        <a:pt x="800" y="924"/>
                      </a:cubicBezTo>
                      <a:cubicBezTo>
                        <a:pt x="800" y="924"/>
                        <a:pt x="800" y="924"/>
                        <a:pt x="800" y="924"/>
                      </a:cubicBezTo>
                      <a:cubicBezTo>
                        <a:pt x="795" y="923"/>
                        <a:pt x="793" y="921"/>
                        <a:pt x="793" y="918"/>
                      </a:cubicBezTo>
                      <a:cubicBezTo>
                        <a:pt x="792" y="918"/>
                        <a:pt x="792" y="918"/>
                        <a:pt x="792" y="918"/>
                      </a:cubicBezTo>
                      <a:cubicBezTo>
                        <a:pt x="793" y="913"/>
                        <a:pt x="793" y="913"/>
                        <a:pt x="793" y="913"/>
                      </a:cubicBezTo>
                      <a:cubicBezTo>
                        <a:pt x="799" y="909"/>
                        <a:pt x="799" y="909"/>
                        <a:pt x="799" y="909"/>
                      </a:cubicBezTo>
                      <a:cubicBezTo>
                        <a:pt x="801" y="910"/>
                        <a:pt x="801" y="910"/>
                        <a:pt x="801" y="910"/>
                      </a:cubicBezTo>
                      <a:cubicBezTo>
                        <a:pt x="805" y="908"/>
                        <a:pt x="828" y="910"/>
                        <a:pt x="832" y="911"/>
                      </a:cubicBezTo>
                      <a:cubicBezTo>
                        <a:pt x="830" y="917"/>
                        <a:pt x="830" y="917"/>
                        <a:pt x="830" y="917"/>
                      </a:cubicBezTo>
                      <a:cubicBezTo>
                        <a:pt x="830" y="919"/>
                        <a:pt x="831" y="921"/>
                        <a:pt x="830" y="923"/>
                      </a:cubicBezTo>
                      <a:close/>
                      <a:moveTo>
                        <a:pt x="884" y="889"/>
                      </a:moveTo>
                      <a:cubicBezTo>
                        <a:pt x="884" y="887"/>
                        <a:pt x="884" y="887"/>
                        <a:pt x="884" y="887"/>
                      </a:cubicBezTo>
                      <a:cubicBezTo>
                        <a:pt x="887" y="887"/>
                        <a:pt x="887" y="887"/>
                        <a:pt x="887" y="887"/>
                      </a:cubicBezTo>
                      <a:cubicBezTo>
                        <a:pt x="888" y="890"/>
                        <a:pt x="888" y="890"/>
                        <a:pt x="888" y="890"/>
                      </a:cubicBezTo>
                      <a:cubicBezTo>
                        <a:pt x="888" y="891"/>
                        <a:pt x="887" y="891"/>
                        <a:pt x="887" y="891"/>
                      </a:cubicBezTo>
                      <a:cubicBezTo>
                        <a:pt x="887" y="892"/>
                        <a:pt x="887" y="892"/>
                        <a:pt x="887" y="892"/>
                      </a:cubicBezTo>
                      <a:cubicBezTo>
                        <a:pt x="887" y="892"/>
                        <a:pt x="887" y="892"/>
                        <a:pt x="887" y="892"/>
                      </a:cubicBezTo>
                      <a:cubicBezTo>
                        <a:pt x="887" y="892"/>
                        <a:pt x="886" y="892"/>
                        <a:pt x="886" y="891"/>
                      </a:cubicBezTo>
                      <a:lnTo>
                        <a:pt x="884" y="889"/>
                      </a:lnTo>
                      <a:close/>
                      <a:moveTo>
                        <a:pt x="892" y="907"/>
                      </a:moveTo>
                      <a:cubicBezTo>
                        <a:pt x="891" y="906"/>
                        <a:pt x="891" y="906"/>
                        <a:pt x="891" y="906"/>
                      </a:cubicBezTo>
                      <a:cubicBezTo>
                        <a:pt x="890" y="906"/>
                        <a:pt x="890" y="906"/>
                        <a:pt x="890" y="905"/>
                      </a:cubicBezTo>
                      <a:cubicBezTo>
                        <a:pt x="892" y="904"/>
                        <a:pt x="892" y="904"/>
                        <a:pt x="892" y="904"/>
                      </a:cubicBezTo>
                      <a:cubicBezTo>
                        <a:pt x="894" y="905"/>
                        <a:pt x="894" y="905"/>
                        <a:pt x="894" y="905"/>
                      </a:cubicBezTo>
                      <a:cubicBezTo>
                        <a:pt x="895" y="907"/>
                        <a:pt x="895" y="907"/>
                        <a:pt x="895" y="907"/>
                      </a:cubicBezTo>
                      <a:lnTo>
                        <a:pt x="892" y="907"/>
                      </a:lnTo>
                      <a:close/>
                      <a:moveTo>
                        <a:pt x="894" y="914"/>
                      </a:moveTo>
                      <a:cubicBezTo>
                        <a:pt x="893" y="917"/>
                        <a:pt x="893" y="916"/>
                        <a:pt x="893" y="915"/>
                      </a:cubicBezTo>
                      <a:cubicBezTo>
                        <a:pt x="892" y="914"/>
                        <a:pt x="892" y="914"/>
                        <a:pt x="892" y="914"/>
                      </a:cubicBezTo>
                      <a:cubicBezTo>
                        <a:pt x="893" y="912"/>
                        <a:pt x="893" y="912"/>
                        <a:pt x="893" y="912"/>
                      </a:cubicBezTo>
                      <a:cubicBezTo>
                        <a:pt x="893" y="913"/>
                        <a:pt x="893" y="913"/>
                        <a:pt x="893" y="913"/>
                      </a:cubicBezTo>
                      <a:cubicBezTo>
                        <a:pt x="893" y="913"/>
                        <a:pt x="894" y="913"/>
                        <a:pt x="894" y="914"/>
                      </a:cubicBezTo>
                      <a:close/>
                      <a:moveTo>
                        <a:pt x="963" y="953"/>
                      </a:moveTo>
                      <a:cubicBezTo>
                        <a:pt x="964" y="953"/>
                        <a:pt x="964" y="953"/>
                        <a:pt x="964" y="953"/>
                      </a:cubicBezTo>
                      <a:cubicBezTo>
                        <a:pt x="969" y="953"/>
                        <a:pt x="969" y="953"/>
                        <a:pt x="969" y="953"/>
                      </a:cubicBezTo>
                      <a:cubicBezTo>
                        <a:pt x="971" y="954"/>
                        <a:pt x="971" y="954"/>
                        <a:pt x="971" y="954"/>
                      </a:cubicBezTo>
                      <a:cubicBezTo>
                        <a:pt x="967" y="957"/>
                        <a:pt x="967" y="957"/>
                        <a:pt x="967" y="957"/>
                      </a:cubicBezTo>
                      <a:cubicBezTo>
                        <a:pt x="961" y="957"/>
                        <a:pt x="961" y="957"/>
                        <a:pt x="961" y="957"/>
                      </a:cubicBezTo>
                      <a:cubicBezTo>
                        <a:pt x="959" y="957"/>
                        <a:pt x="958" y="958"/>
                        <a:pt x="956" y="958"/>
                      </a:cubicBezTo>
                      <a:cubicBezTo>
                        <a:pt x="954" y="960"/>
                        <a:pt x="954" y="960"/>
                        <a:pt x="954" y="960"/>
                      </a:cubicBezTo>
                      <a:cubicBezTo>
                        <a:pt x="949" y="959"/>
                        <a:pt x="949" y="959"/>
                        <a:pt x="949" y="959"/>
                      </a:cubicBezTo>
                      <a:cubicBezTo>
                        <a:pt x="948" y="959"/>
                        <a:pt x="948" y="959"/>
                        <a:pt x="948" y="959"/>
                      </a:cubicBezTo>
                      <a:cubicBezTo>
                        <a:pt x="942" y="959"/>
                        <a:pt x="935" y="959"/>
                        <a:pt x="931" y="957"/>
                      </a:cubicBezTo>
                      <a:cubicBezTo>
                        <a:pt x="929" y="958"/>
                        <a:pt x="929" y="958"/>
                        <a:pt x="929" y="958"/>
                      </a:cubicBezTo>
                      <a:cubicBezTo>
                        <a:pt x="926" y="956"/>
                        <a:pt x="926" y="956"/>
                        <a:pt x="926" y="956"/>
                      </a:cubicBezTo>
                      <a:cubicBezTo>
                        <a:pt x="927" y="953"/>
                        <a:pt x="927" y="953"/>
                        <a:pt x="927" y="953"/>
                      </a:cubicBezTo>
                      <a:cubicBezTo>
                        <a:pt x="936" y="951"/>
                        <a:pt x="936" y="951"/>
                        <a:pt x="936" y="951"/>
                      </a:cubicBezTo>
                      <a:cubicBezTo>
                        <a:pt x="938" y="951"/>
                        <a:pt x="938" y="951"/>
                        <a:pt x="938" y="951"/>
                      </a:cubicBezTo>
                      <a:cubicBezTo>
                        <a:pt x="946" y="951"/>
                        <a:pt x="955" y="952"/>
                        <a:pt x="963" y="953"/>
                      </a:cubicBezTo>
                      <a:close/>
                      <a:moveTo>
                        <a:pt x="928" y="901"/>
                      </a:moveTo>
                      <a:cubicBezTo>
                        <a:pt x="932" y="899"/>
                        <a:pt x="932" y="899"/>
                        <a:pt x="932" y="899"/>
                      </a:cubicBezTo>
                      <a:cubicBezTo>
                        <a:pt x="935" y="901"/>
                        <a:pt x="935" y="901"/>
                        <a:pt x="935" y="901"/>
                      </a:cubicBezTo>
                      <a:cubicBezTo>
                        <a:pt x="936" y="901"/>
                        <a:pt x="938" y="902"/>
                        <a:pt x="939" y="904"/>
                      </a:cubicBezTo>
                      <a:cubicBezTo>
                        <a:pt x="940" y="904"/>
                        <a:pt x="940" y="904"/>
                        <a:pt x="940" y="904"/>
                      </a:cubicBezTo>
                      <a:cubicBezTo>
                        <a:pt x="941" y="907"/>
                        <a:pt x="941" y="907"/>
                        <a:pt x="941" y="907"/>
                      </a:cubicBezTo>
                      <a:cubicBezTo>
                        <a:pt x="940" y="909"/>
                        <a:pt x="940" y="909"/>
                        <a:pt x="940" y="909"/>
                      </a:cubicBezTo>
                      <a:cubicBezTo>
                        <a:pt x="936" y="905"/>
                        <a:pt x="932" y="904"/>
                        <a:pt x="928" y="901"/>
                      </a:cubicBezTo>
                      <a:close/>
                      <a:moveTo>
                        <a:pt x="973" y="947"/>
                      </a:moveTo>
                      <a:cubicBezTo>
                        <a:pt x="974" y="946"/>
                        <a:pt x="974" y="946"/>
                        <a:pt x="974" y="946"/>
                      </a:cubicBezTo>
                      <a:cubicBezTo>
                        <a:pt x="976" y="947"/>
                        <a:pt x="976" y="947"/>
                        <a:pt x="976" y="947"/>
                      </a:cubicBezTo>
                      <a:cubicBezTo>
                        <a:pt x="976" y="950"/>
                        <a:pt x="976" y="950"/>
                        <a:pt x="976" y="950"/>
                      </a:cubicBezTo>
                      <a:cubicBezTo>
                        <a:pt x="975" y="950"/>
                        <a:pt x="975" y="950"/>
                        <a:pt x="974" y="949"/>
                      </a:cubicBezTo>
                      <a:cubicBezTo>
                        <a:pt x="974" y="949"/>
                        <a:pt x="974" y="949"/>
                        <a:pt x="974" y="949"/>
                      </a:cubicBezTo>
                      <a:lnTo>
                        <a:pt x="973" y="947"/>
                      </a:lnTo>
                      <a:close/>
                      <a:moveTo>
                        <a:pt x="981" y="938"/>
                      </a:moveTo>
                      <a:cubicBezTo>
                        <a:pt x="981" y="936"/>
                        <a:pt x="981" y="936"/>
                        <a:pt x="981" y="936"/>
                      </a:cubicBezTo>
                      <a:cubicBezTo>
                        <a:pt x="982" y="933"/>
                        <a:pt x="982" y="933"/>
                        <a:pt x="982" y="933"/>
                      </a:cubicBezTo>
                      <a:cubicBezTo>
                        <a:pt x="985" y="932"/>
                        <a:pt x="985" y="932"/>
                        <a:pt x="985" y="932"/>
                      </a:cubicBezTo>
                      <a:cubicBezTo>
                        <a:pt x="986" y="933"/>
                        <a:pt x="986" y="933"/>
                        <a:pt x="986" y="933"/>
                      </a:cubicBezTo>
                      <a:cubicBezTo>
                        <a:pt x="986" y="933"/>
                        <a:pt x="986" y="933"/>
                        <a:pt x="987" y="934"/>
                      </a:cubicBezTo>
                      <a:cubicBezTo>
                        <a:pt x="984" y="937"/>
                        <a:pt x="984" y="937"/>
                        <a:pt x="984" y="937"/>
                      </a:cubicBezTo>
                      <a:lnTo>
                        <a:pt x="981" y="938"/>
                      </a:lnTo>
                      <a:close/>
                      <a:moveTo>
                        <a:pt x="1038" y="952"/>
                      </a:moveTo>
                      <a:cubicBezTo>
                        <a:pt x="1038" y="949"/>
                        <a:pt x="1038" y="949"/>
                        <a:pt x="1038" y="949"/>
                      </a:cubicBezTo>
                      <a:cubicBezTo>
                        <a:pt x="1041" y="948"/>
                        <a:pt x="1041" y="948"/>
                        <a:pt x="1041" y="948"/>
                      </a:cubicBezTo>
                      <a:cubicBezTo>
                        <a:pt x="1042" y="947"/>
                        <a:pt x="1042" y="947"/>
                        <a:pt x="1042" y="947"/>
                      </a:cubicBezTo>
                      <a:cubicBezTo>
                        <a:pt x="1046" y="944"/>
                        <a:pt x="1052" y="941"/>
                        <a:pt x="1057" y="939"/>
                      </a:cubicBezTo>
                      <a:cubicBezTo>
                        <a:pt x="1057" y="939"/>
                        <a:pt x="1057" y="939"/>
                        <a:pt x="1057" y="939"/>
                      </a:cubicBezTo>
                      <a:cubicBezTo>
                        <a:pt x="1057" y="939"/>
                        <a:pt x="1057" y="939"/>
                        <a:pt x="1057" y="939"/>
                      </a:cubicBezTo>
                      <a:cubicBezTo>
                        <a:pt x="1059" y="938"/>
                        <a:pt x="1061" y="937"/>
                        <a:pt x="1062" y="937"/>
                      </a:cubicBezTo>
                      <a:cubicBezTo>
                        <a:pt x="1064" y="935"/>
                        <a:pt x="1064" y="935"/>
                        <a:pt x="1064" y="935"/>
                      </a:cubicBezTo>
                      <a:cubicBezTo>
                        <a:pt x="1067" y="935"/>
                        <a:pt x="1067" y="935"/>
                        <a:pt x="1067" y="935"/>
                      </a:cubicBezTo>
                      <a:cubicBezTo>
                        <a:pt x="1067" y="938"/>
                        <a:pt x="1067" y="938"/>
                        <a:pt x="1067" y="938"/>
                      </a:cubicBezTo>
                      <a:cubicBezTo>
                        <a:pt x="1064" y="940"/>
                        <a:pt x="1064" y="940"/>
                        <a:pt x="1064" y="940"/>
                      </a:cubicBezTo>
                      <a:cubicBezTo>
                        <a:pt x="1063" y="942"/>
                        <a:pt x="1062" y="944"/>
                        <a:pt x="1060" y="946"/>
                      </a:cubicBezTo>
                      <a:cubicBezTo>
                        <a:pt x="1060" y="948"/>
                        <a:pt x="1060" y="948"/>
                        <a:pt x="1060" y="948"/>
                      </a:cubicBezTo>
                      <a:cubicBezTo>
                        <a:pt x="1056" y="951"/>
                        <a:pt x="1056" y="951"/>
                        <a:pt x="1056" y="951"/>
                      </a:cubicBezTo>
                      <a:cubicBezTo>
                        <a:pt x="1054" y="953"/>
                        <a:pt x="1052" y="954"/>
                        <a:pt x="1049" y="955"/>
                      </a:cubicBezTo>
                      <a:cubicBezTo>
                        <a:pt x="1048" y="956"/>
                        <a:pt x="1048" y="956"/>
                        <a:pt x="1048" y="956"/>
                      </a:cubicBezTo>
                      <a:cubicBezTo>
                        <a:pt x="1043" y="956"/>
                        <a:pt x="1043" y="956"/>
                        <a:pt x="1043" y="956"/>
                      </a:cubicBezTo>
                      <a:cubicBezTo>
                        <a:pt x="1042" y="955"/>
                        <a:pt x="1042" y="955"/>
                        <a:pt x="1042" y="955"/>
                      </a:cubicBezTo>
                      <a:cubicBezTo>
                        <a:pt x="1041" y="954"/>
                        <a:pt x="1039" y="954"/>
                        <a:pt x="1038" y="952"/>
                      </a:cubicBezTo>
                      <a:close/>
                      <a:moveTo>
                        <a:pt x="809" y="643"/>
                      </a:moveTo>
                      <a:cubicBezTo>
                        <a:pt x="810" y="641"/>
                        <a:pt x="810" y="641"/>
                        <a:pt x="810" y="641"/>
                      </a:cubicBezTo>
                      <a:cubicBezTo>
                        <a:pt x="812" y="641"/>
                        <a:pt x="812" y="641"/>
                        <a:pt x="812" y="641"/>
                      </a:cubicBezTo>
                      <a:cubicBezTo>
                        <a:pt x="816" y="643"/>
                        <a:pt x="816" y="643"/>
                        <a:pt x="816" y="643"/>
                      </a:cubicBezTo>
                      <a:cubicBezTo>
                        <a:pt x="817" y="644"/>
                        <a:pt x="817" y="644"/>
                        <a:pt x="817" y="644"/>
                      </a:cubicBezTo>
                      <a:cubicBezTo>
                        <a:pt x="819" y="649"/>
                        <a:pt x="819" y="649"/>
                        <a:pt x="819" y="649"/>
                      </a:cubicBezTo>
                      <a:cubicBezTo>
                        <a:pt x="817" y="651"/>
                        <a:pt x="817" y="651"/>
                        <a:pt x="817" y="651"/>
                      </a:cubicBezTo>
                      <a:cubicBezTo>
                        <a:pt x="814" y="648"/>
                        <a:pt x="811" y="646"/>
                        <a:pt x="809" y="643"/>
                      </a:cubicBezTo>
                      <a:close/>
                      <a:moveTo>
                        <a:pt x="816" y="657"/>
                      </a:moveTo>
                      <a:cubicBezTo>
                        <a:pt x="816" y="657"/>
                        <a:pt x="816" y="657"/>
                        <a:pt x="816" y="657"/>
                      </a:cubicBezTo>
                      <a:cubicBezTo>
                        <a:pt x="816" y="657"/>
                        <a:pt x="815" y="658"/>
                        <a:pt x="815" y="658"/>
                      </a:cubicBezTo>
                      <a:cubicBezTo>
                        <a:pt x="814" y="657"/>
                        <a:pt x="813" y="657"/>
                        <a:pt x="813" y="656"/>
                      </a:cubicBezTo>
                      <a:cubicBezTo>
                        <a:pt x="813" y="656"/>
                        <a:pt x="813" y="656"/>
                        <a:pt x="813" y="656"/>
                      </a:cubicBezTo>
                      <a:cubicBezTo>
                        <a:pt x="813" y="656"/>
                        <a:pt x="813" y="656"/>
                        <a:pt x="813" y="656"/>
                      </a:cubicBezTo>
                      <a:cubicBezTo>
                        <a:pt x="813" y="656"/>
                        <a:pt x="813" y="656"/>
                        <a:pt x="814" y="656"/>
                      </a:cubicBezTo>
                      <a:cubicBezTo>
                        <a:pt x="815" y="654"/>
                        <a:pt x="815" y="654"/>
                        <a:pt x="815" y="654"/>
                      </a:cubicBezTo>
                      <a:cubicBezTo>
                        <a:pt x="816" y="656"/>
                        <a:pt x="816" y="656"/>
                        <a:pt x="816" y="656"/>
                      </a:cubicBezTo>
                      <a:cubicBezTo>
                        <a:pt x="816" y="656"/>
                        <a:pt x="816" y="657"/>
                        <a:pt x="816" y="657"/>
                      </a:cubicBezTo>
                      <a:close/>
                      <a:moveTo>
                        <a:pt x="809" y="656"/>
                      </a:moveTo>
                      <a:cubicBezTo>
                        <a:pt x="810" y="655"/>
                        <a:pt x="811" y="655"/>
                        <a:pt x="812" y="656"/>
                      </a:cubicBezTo>
                      <a:cubicBezTo>
                        <a:pt x="812" y="658"/>
                        <a:pt x="812" y="658"/>
                        <a:pt x="812" y="658"/>
                      </a:cubicBezTo>
                      <a:cubicBezTo>
                        <a:pt x="811" y="658"/>
                        <a:pt x="811" y="658"/>
                        <a:pt x="811" y="658"/>
                      </a:cubicBezTo>
                      <a:cubicBezTo>
                        <a:pt x="811" y="658"/>
                        <a:pt x="811" y="658"/>
                        <a:pt x="810" y="657"/>
                      </a:cubicBezTo>
                      <a:cubicBezTo>
                        <a:pt x="808" y="657"/>
                        <a:pt x="808" y="657"/>
                        <a:pt x="808" y="657"/>
                      </a:cubicBezTo>
                      <a:cubicBezTo>
                        <a:pt x="808" y="657"/>
                        <a:pt x="808" y="657"/>
                        <a:pt x="808" y="657"/>
                      </a:cubicBezTo>
                      <a:cubicBezTo>
                        <a:pt x="807" y="655"/>
                        <a:pt x="807" y="655"/>
                        <a:pt x="807" y="655"/>
                      </a:cubicBezTo>
                      <a:lnTo>
                        <a:pt x="809" y="656"/>
                      </a:lnTo>
                      <a:close/>
                      <a:moveTo>
                        <a:pt x="805" y="651"/>
                      </a:moveTo>
                      <a:cubicBezTo>
                        <a:pt x="805" y="651"/>
                        <a:pt x="805" y="651"/>
                        <a:pt x="805" y="651"/>
                      </a:cubicBezTo>
                      <a:cubicBezTo>
                        <a:pt x="804" y="651"/>
                        <a:pt x="804" y="650"/>
                        <a:pt x="804" y="650"/>
                      </a:cubicBezTo>
                      <a:cubicBezTo>
                        <a:pt x="802" y="650"/>
                        <a:pt x="802" y="650"/>
                        <a:pt x="802" y="650"/>
                      </a:cubicBezTo>
                      <a:cubicBezTo>
                        <a:pt x="802" y="648"/>
                        <a:pt x="802" y="648"/>
                        <a:pt x="802" y="648"/>
                      </a:cubicBezTo>
                      <a:cubicBezTo>
                        <a:pt x="804" y="647"/>
                        <a:pt x="804" y="647"/>
                        <a:pt x="804" y="647"/>
                      </a:cubicBezTo>
                      <a:cubicBezTo>
                        <a:pt x="805" y="647"/>
                        <a:pt x="805" y="647"/>
                        <a:pt x="805" y="647"/>
                      </a:cubicBezTo>
                      <a:cubicBezTo>
                        <a:pt x="805" y="647"/>
                        <a:pt x="806" y="647"/>
                        <a:pt x="806" y="648"/>
                      </a:cubicBezTo>
                      <a:cubicBezTo>
                        <a:pt x="806" y="648"/>
                        <a:pt x="806" y="648"/>
                        <a:pt x="806" y="648"/>
                      </a:cubicBezTo>
                      <a:cubicBezTo>
                        <a:pt x="807" y="649"/>
                        <a:pt x="807" y="649"/>
                        <a:pt x="807" y="649"/>
                      </a:cubicBezTo>
                      <a:lnTo>
                        <a:pt x="805" y="651"/>
                      </a:lnTo>
                      <a:close/>
                      <a:moveTo>
                        <a:pt x="808" y="621"/>
                      </a:moveTo>
                      <a:cubicBezTo>
                        <a:pt x="805" y="624"/>
                        <a:pt x="805" y="624"/>
                        <a:pt x="805" y="624"/>
                      </a:cubicBezTo>
                      <a:cubicBezTo>
                        <a:pt x="801" y="625"/>
                        <a:pt x="801" y="625"/>
                        <a:pt x="801" y="625"/>
                      </a:cubicBezTo>
                      <a:cubicBezTo>
                        <a:pt x="800" y="625"/>
                        <a:pt x="800" y="625"/>
                        <a:pt x="800" y="625"/>
                      </a:cubicBezTo>
                      <a:cubicBezTo>
                        <a:pt x="798" y="626"/>
                        <a:pt x="794" y="626"/>
                        <a:pt x="791" y="627"/>
                      </a:cubicBezTo>
                      <a:cubicBezTo>
                        <a:pt x="789" y="628"/>
                        <a:pt x="789" y="628"/>
                        <a:pt x="789" y="628"/>
                      </a:cubicBezTo>
                      <a:cubicBezTo>
                        <a:pt x="786" y="628"/>
                        <a:pt x="786" y="628"/>
                        <a:pt x="786" y="628"/>
                      </a:cubicBezTo>
                      <a:cubicBezTo>
                        <a:pt x="787" y="627"/>
                        <a:pt x="788" y="626"/>
                        <a:pt x="788" y="625"/>
                      </a:cubicBezTo>
                      <a:cubicBezTo>
                        <a:pt x="789" y="624"/>
                        <a:pt x="789" y="624"/>
                        <a:pt x="789" y="624"/>
                      </a:cubicBezTo>
                      <a:cubicBezTo>
                        <a:pt x="794" y="620"/>
                        <a:pt x="794" y="620"/>
                        <a:pt x="794" y="620"/>
                      </a:cubicBezTo>
                      <a:cubicBezTo>
                        <a:pt x="796" y="620"/>
                        <a:pt x="796" y="620"/>
                        <a:pt x="796" y="620"/>
                      </a:cubicBezTo>
                      <a:cubicBezTo>
                        <a:pt x="798" y="619"/>
                        <a:pt x="800" y="618"/>
                        <a:pt x="802" y="618"/>
                      </a:cubicBezTo>
                      <a:cubicBezTo>
                        <a:pt x="803" y="617"/>
                        <a:pt x="803" y="617"/>
                        <a:pt x="803" y="617"/>
                      </a:cubicBezTo>
                      <a:cubicBezTo>
                        <a:pt x="808" y="617"/>
                        <a:pt x="808" y="617"/>
                        <a:pt x="808" y="617"/>
                      </a:cubicBezTo>
                      <a:lnTo>
                        <a:pt x="808" y="621"/>
                      </a:lnTo>
                      <a:close/>
                      <a:moveTo>
                        <a:pt x="839" y="649"/>
                      </a:moveTo>
                      <a:cubicBezTo>
                        <a:pt x="841" y="647"/>
                        <a:pt x="841" y="647"/>
                        <a:pt x="841" y="647"/>
                      </a:cubicBezTo>
                      <a:cubicBezTo>
                        <a:pt x="841" y="646"/>
                        <a:pt x="841" y="646"/>
                        <a:pt x="843" y="648"/>
                      </a:cubicBezTo>
                      <a:cubicBezTo>
                        <a:pt x="842" y="650"/>
                        <a:pt x="842" y="650"/>
                        <a:pt x="841" y="650"/>
                      </a:cubicBezTo>
                      <a:cubicBezTo>
                        <a:pt x="841" y="651"/>
                        <a:pt x="841" y="651"/>
                        <a:pt x="841" y="651"/>
                      </a:cubicBezTo>
                      <a:lnTo>
                        <a:pt x="839" y="649"/>
                      </a:lnTo>
                      <a:close/>
                      <a:moveTo>
                        <a:pt x="859" y="632"/>
                      </a:moveTo>
                      <a:cubicBezTo>
                        <a:pt x="859" y="631"/>
                        <a:pt x="859" y="630"/>
                        <a:pt x="859" y="629"/>
                      </a:cubicBezTo>
                      <a:cubicBezTo>
                        <a:pt x="859" y="625"/>
                        <a:pt x="859" y="625"/>
                        <a:pt x="859" y="625"/>
                      </a:cubicBezTo>
                      <a:cubicBezTo>
                        <a:pt x="859" y="623"/>
                        <a:pt x="859" y="623"/>
                        <a:pt x="859" y="623"/>
                      </a:cubicBezTo>
                      <a:cubicBezTo>
                        <a:pt x="862" y="622"/>
                        <a:pt x="862" y="622"/>
                        <a:pt x="862" y="622"/>
                      </a:cubicBezTo>
                      <a:cubicBezTo>
                        <a:pt x="861" y="630"/>
                        <a:pt x="861" y="630"/>
                        <a:pt x="861" y="630"/>
                      </a:cubicBezTo>
                      <a:lnTo>
                        <a:pt x="859" y="632"/>
                      </a:lnTo>
                      <a:close/>
                      <a:moveTo>
                        <a:pt x="873" y="625"/>
                      </a:moveTo>
                      <a:cubicBezTo>
                        <a:pt x="874" y="620"/>
                        <a:pt x="874" y="620"/>
                        <a:pt x="874" y="620"/>
                      </a:cubicBezTo>
                      <a:cubicBezTo>
                        <a:pt x="874" y="619"/>
                        <a:pt x="874" y="617"/>
                        <a:pt x="875" y="615"/>
                      </a:cubicBezTo>
                      <a:cubicBezTo>
                        <a:pt x="875" y="614"/>
                        <a:pt x="875" y="614"/>
                        <a:pt x="875" y="614"/>
                      </a:cubicBezTo>
                      <a:cubicBezTo>
                        <a:pt x="876" y="611"/>
                        <a:pt x="876" y="611"/>
                        <a:pt x="876" y="611"/>
                      </a:cubicBezTo>
                      <a:cubicBezTo>
                        <a:pt x="878" y="611"/>
                        <a:pt x="878" y="611"/>
                        <a:pt x="878" y="611"/>
                      </a:cubicBezTo>
                      <a:cubicBezTo>
                        <a:pt x="877" y="616"/>
                        <a:pt x="877" y="616"/>
                        <a:pt x="877" y="616"/>
                      </a:cubicBezTo>
                      <a:cubicBezTo>
                        <a:pt x="877" y="618"/>
                        <a:pt x="877" y="619"/>
                        <a:pt x="877" y="620"/>
                      </a:cubicBezTo>
                      <a:cubicBezTo>
                        <a:pt x="876" y="624"/>
                        <a:pt x="876" y="624"/>
                        <a:pt x="876" y="624"/>
                      </a:cubicBezTo>
                      <a:cubicBezTo>
                        <a:pt x="874" y="626"/>
                        <a:pt x="874" y="626"/>
                        <a:pt x="874" y="626"/>
                      </a:cubicBezTo>
                      <a:lnTo>
                        <a:pt x="873" y="625"/>
                      </a:lnTo>
                      <a:close/>
                      <a:moveTo>
                        <a:pt x="884" y="580"/>
                      </a:moveTo>
                      <a:cubicBezTo>
                        <a:pt x="887" y="576"/>
                        <a:pt x="887" y="576"/>
                        <a:pt x="887" y="576"/>
                      </a:cubicBezTo>
                      <a:cubicBezTo>
                        <a:pt x="889" y="577"/>
                        <a:pt x="889" y="577"/>
                        <a:pt x="889" y="577"/>
                      </a:cubicBezTo>
                      <a:cubicBezTo>
                        <a:pt x="888" y="579"/>
                        <a:pt x="888" y="579"/>
                        <a:pt x="888" y="579"/>
                      </a:cubicBezTo>
                      <a:cubicBezTo>
                        <a:pt x="886" y="581"/>
                        <a:pt x="886" y="581"/>
                        <a:pt x="886" y="581"/>
                      </a:cubicBezTo>
                      <a:lnTo>
                        <a:pt x="884" y="580"/>
                      </a:lnTo>
                      <a:close/>
                      <a:moveTo>
                        <a:pt x="915" y="596"/>
                      </a:moveTo>
                      <a:cubicBezTo>
                        <a:pt x="914" y="599"/>
                        <a:pt x="914" y="599"/>
                        <a:pt x="914" y="599"/>
                      </a:cubicBezTo>
                      <a:cubicBezTo>
                        <a:pt x="913" y="598"/>
                        <a:pt x="913" y="598"/>
                        <a:pt x="913" y="598"/>
                      </a:cubicBezTo>
                      <a:cubicBezTo>
                        <a:pt x="915" y="595"/>
                        <a:pt x="915" y="595"/>
                        <a:pt x="915" y="595"/>
                      </a:cubicBezTo>
                      <a:lnTo>
                        <a:pt x="915" y="596"/>
                      </a:lnTo>
                      <a:close/>
                      <a:moveTo>
                        <a:pt x="915" y="602"/>
                      </a:moveTo>
                      <a:cubicBezTo>
                        <a:pt x="915" y="606"/>
                        <a:pt x="915" y="606"/>
                        <a:pt x="915" y="606"/>
                      </a:cubicBezTo>
                      <a:cubicBezTo>
                        <a:pt x="914" y="606"/>
                        <a:pt x="914" y="606"/>
                        <a:pt x="914" y="606"/>
                      </a:cubicBezTo>
                      <a:cubicBezTo>
                        <a:pt x="914" y="606"/>
                        <a:pt x="913" y="606"/>
                        <a:pt x="911" y="606"/>
                      </a:cubicBezTo>
                      <a:cubicBezTo>
                        <a:pt x="910" y="603"/>
                        <a:pt x="910" y="603"/>
                        <a:pt x="910" y="603"/>
                      </a:cubicBezTo>
                      <a:lnTo>
                        <a:pt x="915" y="602"/>
                      </a:lnTo>
                      <a:close/>
                      <a:moveTo>
                        <a:pt x="890" y="334"/>
                      </a:moveTo>
                      <a:cubicBezTo>
                        <a:pt x="888" y="336"/>
                        <a:pt x="886" y="339"/>
                        <a:pt x="884" y="342"/>
                      </a:cubicBezTo>
                      <a:cubicBezTo>
                        <a:pt x="884" y="343"/>
                        <a:pt x="884" y="343"/>
                        <a:pt x="884" y="343"/>
                      </a:cubicBezTo>
                      <a:cubicBezTo>
                        <a:pt x="884" y="343"/>
                        <a:pt x="884" y="343"/>
                        <a:pt x="884" y="343"/>
                      </a:cubicBezTo>
                      <a:cubicBezTo>
                        <a:pt x="881" y="347"/>
                        <a:pt x="880" y="351"/>
                        <a:pt x="877" y="354"/>
                      </a:cubicBezTo>
                      <a:cubicBezTo>
                        <a:pt x="876" y="358"/>
                        <a:pt x="876" y="358"/>
                        <a:pt x="876" y="358"/>
                      </a:cubicBezTo>
                      <a:cubicBezTo>
                        <a:pt x="873" y="361"/>
                        <a:pt x="873" y="361"/>
                        <a:pt x="873" y="361"/>
                      </a:cubicBezTo>
                      <a:cubicBezTo>
                        <a:pt x="872" y="359"/>
                        <a:pt x="871" y="357"/>
                        <a:pt x="870" y="356"/>
                      </a:cubicBezTo>
                      <a:cubicBezTo>
                        <a:pt x="870" y="355"/>
                        <a:pt x="870" y="355"/>
                        <a:pt x="870" y="355"/>
                      </a:cubicBezTo>
                      <a:cubicBezTo>
                        <a:pt x="868" y="350"/>
                        <a:pt x="868" y="350"/>
                        <a:pt x="868" y="350"/>
                      </a:cubicBezTo>
                      <a:cubicBezTo>
                        <a:pt x="869" y="348"/>
                        <a:pt x="869" y="348"/>
                        <a:pt x="869" y="348"/>
                      </a:cubicBezTo>
                      <a:cubicBezTo>
                        <a:pt x="869" y="347"/>
                        <a:pt x="869" y="345"/>
                        <a:pt x="869" y="343"/>
                      </a:cubicBezTo>
                      <a:cubicBezTo>
                        <a:pt x="869" y="342"/>
                        <a:pt x="869" y="342"/>
                        <a:pt x="869" y="342"/>
                      </a:cubicBezTo>
                      <a:cubicBezTo>
                        <a:pt x="869" y="342"/>
                        <a:pt x="869" y="342"/>
                        <a:pt x="869" y="342"/>
                      </a:cubicBezTo>
                      <a:cubicBezTo>
                        <a:pt x="869" y="340"/>
                        <a:pt x="869" y="339"/>
                        <a:pt x="868" y="337"/>
                      </a:cubicBezTo>
                      <a:cubicBezTo>
                        <a:pt x="865" y="341"/>
                        <a:pt x="865" y="341"/>
                        <a:pt x="865" y="341"/>
                      </a:cubicBezTo>
                      <a:cubicBezTo>
                        <a:pt x="863" y="338"/>
                        <a:pt x="863" y="338"/>
                        <a:pt x="863" y="338"/>
                      </a:cubicBezTo>
                      <a:cubicBezTo>
                        <a:pt x="863" y="334"/>
                        <a:pt x="863" y="334"/>
                        <a:pt x="863" y="334"/>
                      </a:cubicBezTo>
                      <a:cubicBezTo>
                        <a:pt x="862" y="330"/>
                        <a:pt x="861" y="326"/>
                        <a:pt x="861" y="323"/>
                      </a:cubicBezTo>
                      <a:cubicBezTo>
                        <a:pt x="861" y="322"/>
                        <a:pt x="861" y="322"/>
                        <a:pt x="861" y="322"/>
                      </a:cubicBezTo>
                      <a:cubicBezTo>
                        <a:pt x="863" y="318"/>
                        <a:pt x="863" y="318"/>
                        <a:pt x="863" y="318"/>
                      </a:cubicBezTo>
                      <a:cubicBezTo>
                        <a:pt x="866" y="318"/>
                        <a:pt x="866" y="318"/>
                        <a:pt x="866" y="318"/>
                      </a:cubicBezTo>
                      <a:cubicBezTo>
                        <a:pt x="868" y="323"/>
                        <a:pt x="868" y="323"/>
                        <a:pt x="868" y="323"/>
                      </a:cubicBezTo>
                      <a:cubicBezTo>
                        <a:pt x="871" y="322"/>
                        <a:pt x="871" y="322"/>
                        <a:pt x="871" y="322"/>
                      </a:cubicBezTo>
                      <a:cubicBezTo>
                        <a:pt x="872" y="322"/>
                        <a:pt x="872" y="322"/>
                        <a:pt x="872" y="322"/>
                      </a:cubicBezTo>
                      <a:cubicBezTo>
                        <a:pt x="873" y="321"/>
                        <a:pt x="874" y="320"/>
                        <a:pt x="875" y="318"/>
                      </a:cubicBezTo>
                      <a:cubicBezTo>
                        <a:pt x="878" y="320"/>
                        <a:pt x="878" y="320"/>
                        <a:pt x="878" y="320"/>
                      </a:cubicBezTo>
                      <a:cubicBezTo>
                        <a:pt x="879" y="325"/>
                        <a:pt x="879" y="325"/>
                        <a:pt x="879" y="325"/>
                      </a:cubicBezTo>
                      <a:cubicBezTo>
                        <a:pt x="880" y="326"/>
                        <a:pt x="881" y="327"/>
                        <a:pt x="882" y="329"/>
                      </a:cubicBezTo>
                      <a:cubicBezTo>
                        <a:pt x="884" y="330"/>
                        <a:pt x="884" y="330"/>
                        <a:pt x="884" y="330"/>
                      </a:cubicBezTo>
                      <a:lnTo>
                        <a:pt x="890" y="334"/>
                      </a:lnTo>
                      <a:close/>
                      <a:moveTo>
                        <a:pt x="884" y="318"/>
                      </a:moveTo>
                      <a:cubicBezTo>
                        <a:pt x="885" y="313"/>
                        <a:pt x="885" y="313"/>
                        <a:pt x="885" y="313"/>
                      </a:cubicBezTo>
                      <a:cubicBezTo>
                        <a:pt x="892" y="312"/>
                        <a:pt x="892" y="312"/>
                        <a:pt x="892" y="312"/>
                      </a:cubicBezTo>
                      <a:cubicBezTo>
                        <a:pt x="898" y="312"/>
                        <a:pt x="898" y="312"/>
                        <a:pt x="898" y="312"/>
                      </a:cubicBezTo>
                      <a:cubicBezTo>
                        <a:pt x="902" y="311"/>
                        <a:pt x="902" y="311"/>
                        <a:pt x="902" y="311"/>
                      </a:cubicBezTo>
                      <a:cubicBezTo>
                        <a:pt x="908" y="318"/>
                        <a:pt x="908" y="318"/>
                        <a:pt x="908" y="318"/>
                      </a:cubicBezTo>
                      <a:cubicBezTo>
                        <a:pt x="904" y="321"/>
                        <a:pt x="904" y="321"/>
                        <a:pt x="904" y="321"/>
                      </a:cubicBezTo>
                      <a:cubicBezTo>
                        <a:pt x="896" y="326"/>
                        <a:pt x="896" y="326"/>
                        <a:pt x="896" y="326"/>
                      </a:cubicBezTo>
                      <a:cubicBezTo>
                        <a:pt x="894" y="325"/>
                        <a:pt x="894" y="325"/>
                        <a:pt x="894" y="325"/>
                      </a:cubicBezTo>
                      <a:cubicBezTo>
                        <a:pt x="891" y="323"/>
                        <a:pt x="891" y="323"/>
                        <a:pt x="891" y="323"/>
                      </a:cubicBezTo>
                      <a:cubicBezTo>
                        <a:pt x="889" y="322"/>
                        <a:pt x="887" y="321"/>
                        <a:pt x="886" y="320"/>
                      </a:cubicBezTo>
                      <a:lnTo>
                        <a:pt x="884" y="318"/>
                      </a:lnTo>
                      <a:close/>
                      <a:moveTo>
                        <a:pt x="873" y="458"/>
                      </a:moveTo>
                      <a:cubicBezTo>
                        <a:pt x="866" y="466"/>
                        <a:pt x="866" y="466"/>
                        <a:pt x="866" y="466"/>
                      </a:cubicBezTo>
                      <a:cubicBezTo>
                        <a:pt x="866" y="463"/>
                        <a:pt x="866" y="463"/>
                        <a:pt x="866" y="463"/>
                      </a:cubicBezTo>
                      <a:cubicBezTo>
                        <a:pt x="870" y="459"/>
                        <a:pt x="870" y="459"/>
                        <a:pt x="870" y="459"/>
                      </a:cubicBezTo>
                      <a:lnTo>
                        <a:pt x="873" y="458"/>
                      </a:lnTo>
                      <a:close/>
                      <a:moveTo>
                        <a:pt x="864" y="466"/>
                      </a:moveTo>
                      <a:cubicBezTo>
                        <a:pt x="863" y="468"/>
                        <a:pt x="863" y="468"/>
                        <a:pt x="863" y="468"/>
                      </a:cubicBezTo>
                      <a:cubicBezTo>
                        <a:pt x="861" y="471"/>
                        <a:pt x="861" y="471"/>
                        <a:pt x="861" y="471"/>
                      </a:cubicBezTo>
                      <a:cubicBezTo>
                        <a:pt x="860" y="471"/>
                        <a:pt x="860" y="471"/>
                        <a:pt x="860" y="471"/>
                      </a:cubicBezTo>
                      <a:cubicBezTo>
                        <a:pt x="859" y="471"/>
                        <a:pt x="858" y="471"/>
                        <a:pt x="857" y="471"/>
                      </a:cubicBezTo>
                      <a:cubicBezTo>
                        <a:pt x="859" y="470"/>
                        <a:pt x="859" y="470"/>
                        <a:pt x="859" y="470"/>
                      </a:cubicBezTo>
                      <a:lnTo>
                        <a:pt x="864" y="466"/>
                      </a:lnTo>
                      <a:close/>
                      <a:moveTo>
                        <a:pt x="959" y="300"/>
                      </a:moveTo>
                      <a:cubicBezTo>
                        <a:pt x="963" y="297"/>
                        <a:pt x="963" y="297"/>
                        <a:pt x="963" y="297"/>
                      </a:cubicBezTo>
                      <a:cubicBezTo>
                        <a:pt x="964" y="298"/>
                        <a:pt x="964" y="298"/>
                        <a:pt x="964" y="298"/>
                      </a:cubicBezTo>
                      <a:cubicBezTo>
                        <a:pt x="965" y="298"/>
                        <a:pt x="965" y="298"/>
                        <a:pt x="966" y="298"/>
                      </a:cubicBezTo>
                      <a:cubicBezTo>
                        <a:pt x="965" y="300"/>
                        <a:pt x="965" y="300"/>
                        <a:pt x="965" y="300"/>
                      </a:cubicBezTo>
                      <a:cubicBezTo>
                        <a:pt x="960" y="302"/>
                        <a:pt x="960" y="302"/>
                        <a:pt x="960" y="302"/>
                      </a:cubicBezTo>
                      <a:lnTo>
                        <a:pt x="959" y="300"/>
                      </a:lnTo>
                      <a:close/>
                      <a:moveTo>
                        <a:pt x="979" y="79"/>
                      </a:moveTo>
                      <a:cubicBezTo>
                        <a:pt x="976" y="78"/>
                        <a:pt x="976" y="78"/>
                        <a:pt x="976" y="78"/>
                      </a:cubicBezTo>
                      <a:cubicBezTo>
                        <a:pt x="975" y="73"/>
                        <a:pt x="975" y="73"/>
                        <a:pt x="975" y="73"/>
                      </a:cubicBezTo>
                      <a:cubicBezTo>
                        <a:pt x="976" y="74"/>
                        <a:pt x="976" y="74"/>
                        <a:pt x="976" y="74"/>
                      </a:cubicBezTo>
                      <a:cubicBezTo>
                        <a:pt x="982" y="78"/>
                        <a:pt x="982" y="78"/>
                        <a:pt x="982" y="78"/>
                      </a:cubicBezTo>
                      <a:lnTo>
                        <a:pt x="979" y="79"/>
                      </a:lnTo>
                      <a:close/>
                      <a:moveTo>
                        <a:pt x="983" y="288"/>
                      </a:moveTo>
                      <a:cubicBezTo>
                        <a:pt x="984" y="288"/>
                        <a:pt x="984" y="288"/>
                        <a:pt x="984" y="288"/>
                      </a:cubicBezTo>
                      <a:cubicBezTo>
                        <a:pt x="985" y="288"/>
                        <a:pt x="985" y="288"/>
                        <a:pt x="986" y="289"/>
                      </a:cubicBezTo>
                      <a:cubicBezTo>
                        <a:pt x="986" y="290"/>
                        <a:pt x="985" y="291"/>
                        <a:pt x="985" y="291"/>
                      </a:cubicBezTo>
                      <a:cubicBezTo>
                        <a:pt x="983" y="293"/>
                        <a:pt x="983" y="293"/>
                        <a:pt x="983" y="293"/>
                      </a:cubicBezTo>
                      <a:cubicBezTo>
                        <a:pt x="982" y="292"/>
                        <a:pt x="982" y="292"/>
                        <a:pt x="982" y="292"/>
                      </a:cubicBezTo>
                      <a:lnTo>
                        <a:pt x="983" y="288"/>
                      </a:lnTo>
                      <a:close/>
                      <a:moveTo>
                        <a:pt x="989" y="284"/>
                      </a:moveTo>
                      <a:cubicBezTo>
                        <a:pt x="990" y="282"/>
                        <a:pt x="990" y="282"/>
                        <a:pt x="990" y="282"/>
                      </a:cubicBezTo>
                      <a:cubicBezTo>
                        <a:pt x="991" y="286"/>
                        <a:pt x="991" y="286"/>
                        <a:pt x="991" y="286"/>
                      </a:cubicBezTo>
                      <a:cubicBezTo>
                        <a:pt x="991" y="287"/>
                        <a:pt x="991" y="288"/>
                        <a:pt x="991" y="289"/>
                      </a:cubicBezTo>
                      <a:cubicBezTo>
                        <a:pt x="989" y="289"/>
                        <a:pt x="989" y="289"/>
                        <a:pt x="989" y="289"/>
                      </a:cubicBezTo>
                      <a:cubicBezTo>
                        <a:pt x="989" y="284"/>
                        <a:pt x="989" y="284"/>
                        <a:pt x="989" y="284"/>
                      </a:cubicBezTo>
                      <a:cubicBezTo>
                        <a:pt x="988" y="283"/>
                        <a:pt x="989" y="283"/>
                        <a:pt x="989" y="284"/>
                      </a:cubicBezTo>
                      <a:close/>
                      <a:moveTo>
                        <a:pt x="1034" y="322"/>
                      </a:moveTo>
                      <a:cubicBezTo>
                        <a:pt x="1035" y="319"/>
                        <a:pt x="1035" y="319"/>
                        <a:pt x="1035" y="319"/>
                      </a:cubicBezTo>
                      <a:cubicBezTo>
                        <a:pt x="1038" y="315"/>
                        <a:pt x="1038" y="315"/>
                        <a:pt x="1038" y="315"/>
                      </a:cubicBezTo>
                      <a:cubicBezTo>
                        <a:pt x="1043" y="317"/>
                        <a:pt x="1043" y="317"/>
                        <a:pt x="1043" y="317"/>
                      </a:cubicBezTo>
                      <a:cubicBezTo>
                        <a:pt x="1043" y="320"/>
                        <a:pt x="1043" y="320"/>
                        <a:pt x="1043" y="320"/>
                      </a:cubicBezTo>
                      <a:cubicBezTo>
                        <a:pt x="1040" y="323"/>
                        <a:pt x="1040" y="323"/>
                        <a:pt x="1040" y="323"/>
                      </a:cubicBezTo>
                      <a:cubicBezTo>
                        <a:pt x="1040" y="330"/>
                        <a:pt x="1036" y="340"/>
                        <a:pt x="1036" y="347"/>
                      </a:cubicBezTo>
                      <a:cubicBezTo>
                        <a:pt x="1036" y="350"/>
                        <a:pt x="1036" y="354"/>
                        <a:pt x="1036" y="358"/>
                      </a:cubicBezTo>
                      <a:cubicBezTo>
                        <a:pt x="1037" y="365"/>
                        <a:pt x="1037" y="365"/>
                        <a:pt x="1037" y="365"/>
                      </a:cubicBezTo>
                      <a:cubicBezTo>
                        <a:pt x="1034" y="365"/>
                        <a:pt x="1034" y="365"/>
                        <a:pt x="1034" y="365"/>
                      </a:cubicBezTo>
                      <a:cubicBezTo>
                        <a:pt x="1034" y="366"/>
                        <a:pt x="1033" y="366"/>
                        <a:pt x="1032" y="366"/>
                      </a:cubicBezTo>
                      <a:cubicBezTo>
                        <a:pt x="1030" y="366"/>
                        <a:pt x="1030" y="366"/>
                        <a:pt x="1030" y="366"/>
                      </a:cubicBezTo>
                      <a:cubicBezTo>
                        <a:pt x="1028" y="361"/>
                        <a:pt x="1028" y="361"/>
                        <a:pt x="1028" y="361"/>
                      </a:cubicBezTo>
                      <a:cubicBezTo>
                        <a:pt x="1027" y="359"/>
                        <a:pt x="1026" y="357"/>
                        <a:pt x="1026" y="355"/>
                      </a:cubicBezTo>
                      <a:cubicBezTo>
                        <a:pt x="1025" y="355"/>
                        <a:pt x="1025" y="355"/>
                        <a:pt x="1025" y="355"/>
                      </a:cubicBezTo>
                      <a:cubicBezTo>
                        <a:pt x="1025" y="345"/>
                        <a:pt x="1025" y="345"/>
                        <a:pt x="1025" y="345"/>
                      </a:cubicBezTo>
                      <a:cubicBezTo>
                        <a:pt x="1026" y="344"/>
                        <a:pt x="1026" y="344"/>
                        <a:pt x="1026" y="344"/>
                      </a:cubicBezTo>
                      <a:cubicBezTo>
                        <a:pt x="1027" y="336"/>
                        <a:pt x="1031" y="329"/>
                        <a:pt x="1034" y="322"/>
                      </a:cubicBezTo>
                      <a:close/>
                      <a:moveTo>
                        <a:pt x="1028" y="244"/>
                      </a:moveTo>
                      <a:cubicBezTo>
                        <a:pt x="1029" y="241"/>
                        <a:pt x="1029" y="241"/>
                        <a:pt x="1029" y="241"/>
                      </a:cubicBezTo>
                      <a:cubicBezTo>
                        <a:pt x="1031" y="240"/>
                        <a:pt x="1031" y="240"/>
                        <a:pt x="1031" y="240"/>
                      </a:cubicBezTo>
                      <a:cubicBezTo>
                        <a:pt x="1032" y="244"/>
                        <a:pt x="1032" y="244"/>
                        <a:pt x="1032" y="244"/>
                      </a:cubicBezTo>
                      <a:cubicBezTo>
                        <a:pt x="1031" y="245"/>
                        <a:pt x="1031" y="245"/>
                        <a:pt x="1031" y="245"/>
                      </a:cubicBezTo>
                      <a:cubicBezTo>
                        <a:pt x="1031" y="245"/>
                        <a:pt x="1031" y="246"/>
                        <a:pt x="1030" y="247"/>
                      </a:cubicBezTo>
                      <a:cubicBezTo>
                        <a:pt x="1030" y="246"/>
                        <a:pt x="1029" y="246"/>
                        <a:pt x="1029" y="245"/>
                      </a:cubicBezTo>
                      <a:lnTo>
                        <a:pt x="1028" y="244"/>
                      </a:lnTo>
                      <a:close/>
                      <a:moveTo>
                        <a:pt x="1045" y="238"/>
                      </a:moveTo>
                      <a:cubicBezTo>
                        <a:pt x="1047" y="241"/>
                        <a:pt x="1048" y="242"/>
                        <a:pt x="1049" y="243"/>
                      </a:cubicBezTo>
                      <a:cubicBezTo>
                        <a:pt x="1050" y="244"/>
                        <a:pt x="1050" y="244"/>
                        <a:pt x="1050" y="244"/>
                      </a:cubicBezTo>
                      <a:cubicBezTo>
                        <a:pt x="1049" y="247"/>
                        <a:pt x="1049" y="247"/>
                        <a:pt x="1049" y="247"/>
                      </a:cubicBezTo>
                      <a:cubicBezTo>
                        <a:pt x="1044" y="249"/>
                        <a:pt x="1044" y="249"/>
                        <a:pt x="1044" y="249"/>
                      </a:cubicBezTo>
                      <a:cubicBezTo>
                        <a:pt x="1040" y="249"/>
                        <a:pt x="1040" y="249"/>
                        <a:pt x="1040" y="249"/>
                      </a:cubicBezTo>
                      <a:cubicBezTo>
                        <a:pt x="1036" y="245"/>
                        <a:pt x="1036" y="245"/>
                        <a:pt x="1036" y="245"/>
                      </a:cubicBezTo>
                      <a:cubicBezTo>
                        <a:pt x="1036" y="243"/>
                        <a:pt x="1036" y="243"/>
                        <a:pt x="1036" y="243"/>
                      </a:cubicBezTo>
                      <a:cubicBezTo>
                        <a:pt x="1036" y="242"/>
                        <a:pt x="1036" y="242"/>
                        <a:pt x="1036" y="242"/>
                      </a:cubicBezTo>
                      <a:cubicBezTo>
                        <a:pt x="1036" y="241"/>
                        <a:pt x="1039" y="240"/>
                        <a:pt x="1045" y="238"/>
                      </a:cubicBezTo>
                      <a:close/>
                      <a:moveTo>
                        <a:pt x="1036" y="83"/>
                      </a:moveTo>
                      <a:cubicBezTo>
                        <a:pt x="1039" y="81"/>
                        <a:pt x="1039" y="81"/>
                        <a:pt x="1039" y="81"/>
                      </a:cubicBezTo>
                      <a:cubicBezTo>
                        <a:pt x="1041" y="81"/>
                        <a:pt x="1041" y="81"/>
                        <a:pt x="1041" y="81"/>
                      </a:cubicBezTo>
                      <a:cubicBezTo>
                        <a:pt x="1043" y="83"/>
                        <a:pt x="1043" y="83"/>
                        <a:pt x="1043" y="83"/>
                      </a:cubicBezTo>
                      <a:cubicBezTo>
                        <a:pt x="1041" y="86"/>
                        <a:pt x="1041" y="86"/>
                        <a:pt x="1041" y="86"/>
                      </a:cubicBezTo>
                      <a:lnTo>
                        <a:pt x="1036" y="83"/>
                      </a:lnTo>
                      <a:close/>
                      <a:moveTo>
                        <a:pt x="1077" y="149"/>
                      </a:moveTo>
                      <a:cubicBezTo>
                        <a:pt x="1076" y="152"/>
                        <a:pt x="1076" y="152"/>
                        <a:pt x="1076" y="152"/>
                      </a:cubicBezTo>
                      <a:cubicBezTo>
                        <a:pt x="1077" y="153"/>
                        <a:pt x="1079" y="153"/>
                        <a:pt x="1082" y="152"/>
                      </a:cubicBezTo>
                      <a:cubicBezTo>
                        <a:pt x="1082" y="152"/>
                        <a:pt x="1082" y="152"/>
                        <a:pt x="1082" y="152"/>
                      </a:cubicBezTo>
                      <a:cubicBezTo>
                        <a:pt x="1084" y="151"/>
                        <a:pt x="1084" y="151"/>
                        <a:pt x="1084" y="151"/>
                      </a:cubicBezTo>
                      <a:cubicBezTo>
                        <a:pt x="1086" y="157"/>
                        <a:pt x="1086" y="161"/>
                        <a:pt x="1084" y="163"/>
                      </a:cubicBezTo>
                      <a:cubicBezTo>
                        <a:pt x="1084" y="164"/>
                        <a:pt x="1084" y="164"/>
                        <a:pt x="1084" y="164"/>
                      </a:cubicBezTo>
                      <a:cubicBezTo>
                        <a:pt x="1083" y="164"/>
                        <a:pt x="1083" y="164"/>
                        <a:pt x="1083" y="164"/>
                      </a:cubicBezTo>
                      <a:cubicBezTo>
                        <a:pt x="1082" y="166"/>
                        <a:pt x="1079" y="166"/>
                        <a:pt x="1077" y="166"/>
                      </a:cubicBezTo>
                      <a:cubicBezTo>
                        <a:pt x="1075" y="167"/>
                        <a:pt x="1075" y="167"/>
                        <a:pt x="1075" y="167"/>
                      </a:cubicBezTo>
                      <a:cubicBezTo>
                        <a:pt x="1069" y="165"/>
                        <a:pt x="1069" y="165"/>
                        <a:pt x="1069" y="165"/>
                      </a:cubicBezTo>
                      <a:cubicBezTo>
                        <a:pt x="1069" y="162"/>
                        <a:pt x="1069" y="162"/>
                        <a:pt x="1069" y="162"/>
                      </a:cubicBezTo>
                      <a:cubicBezTo>
                        <a:pt x="1067" y="160"/>
                        <a:pt x="1066" y="159"/>
                        <a:pt x="1066" y="157"/>
                      </a:cubicBezTo>
                      <a:cubicBezTo>
                        <a:pt x="1066" y="156"/>
                        <a:pt x="1066" y="156"/>
                        <a:pt x="1066" y="156"/>
                      </a:cubicBezTo>
                      <a:cubicBezTo>
                        <a:pt x="1066" y="155"/>
                        <a:pt x="1066" y="155"/>
                        <a:pt x="1066" y="155"/>
                      </a:cubicBezTo>
                      <a:cubicBezTo>
                        <a:pt x="1067" y="154"/>
                        <a:pt x="1067" y="153"/>
                        <a:pt x="1068" y="151"/>
                      </a:cubicBezTo>
                      <a:cubicBezTo>
                        <a:pt x="1069" y="150"/>
                        <a:pt x="1069" y="150"/>
                        <a:pt x="1069" y="150"/>
                      </a:cubicBezTo>
                      <a:cubicBezTo>
                        <a:pt x="1072" y="148"/>
                        <a:pt x="1072" y="148"/>
                        <a:pt x="1072" y="148"/>
                      </a:cubicBezTo>
                      <a:lnTo>
                        <a:pt x="1077" y="149"/>
                      </a:lnTo>
                      <a:close/>
                      <a:moveTo>
                        <a:pt x="1074" y="142"/>
                      </a:moveTo>
                      <a:cubicBezTo>
                        <a:pt x="1074" y="138"/>
                        <a:pt x="1074" y="138"/>
                        <a:pt x="1074" y="138"/>
                      </a:cubicBezTo>
                      <a:cubicBezTo>
                        <a:pt x="1077" y="135"/>
                        <a:pt x="1077" y="135"/>
                        <a:pt x="1077" y="135"/>
                      </a:cubicBezTo>
                      <a:cubicBezTo>
                        <a:pt x="1077" y="137"/>
                        <a:pt x="1077" y="137"/>
                        <a:pt x="1077" y="137"/>
                      </a:cubicBezTo>
                      <a:cubicBezTo>
                        <a:pt x="1077" y="137"/>
                        <a:pt x="1078" y="138"/>
                        <a:pt x="1077" y="142"/>
                      </a:cubicBezTo>
                      <a:cubicBezTo>
                        <a:pt x="1076" y="142"/>
                        <a:pt x="1075" y="142"/>
                        <a:pt x="1075" y="142"/>
                      </a:cubicBezTo>
                      <a:lnTo>
                        <a:pt x="1074" y="142"/>
                      </a:lnTo>
                      <a:close/>
                      <a:moveTo>
                        <a:pt x="1067" y="232"/>
                      </a:moveTo>
                      <a:cubicBezTo>
                        <a:pt x="1070" y="232"/>
                        <a:pt x="1070" y="232"/>
                        <a:pt x="1070" y="232"/>
                      </a:cubicBezTo>
                      <a:cubicBezTo>
                        <a:pt x="1071" y="236"/>
                        <a:pt x="1071" y="236"/>
                        <a:pt x="1071" y="236"/>
                      </a:cubicBezTo>
                      <a:cubicBezTo>
                        <a:pt x="1072" y="238"/>
                        <a:pt x="1073" y="240"/>
                        <a:pt x="1073" y="244"/>
                      </a:cubicBezTo>
                      <a:cubicBezTo>
                        <a:pt x="1074" y="245"/>
                        <a:pt x="1074" y="245"/>
                        <a:pt x="1074" y="245"/>
                      </a:cubicBezTo>
                      <a:cubicBezTo>
                        <a:pt x="1074" y="249"/>
                        <a:pt x="1074" y="249"/>
                        <a:pt x="1074" y="249"/>
                      </a:cubicBezTo>
                      <a:cubicBezTo>
                        <a:pt x="1073" y="251"/>
                        <a:pt x="1073" y="251"/>
                        <a:pt x="1073" y="251"/>
                      </a:cubicBezTo>
                      <a:cubicBezTo>
                        <a:pt x="1070" y="249"/>
                        <a:pt x="1070" y="249"/>
                        <a:pt x="1070" y="249"/>
                      </a:cubicBezTo>
                      <a:cubicBezTo>
                        <a:pt x="1067" y="245"/>
                        <a:pt x="1067" y="245"/>
                        <a:pt x="1067" y="245"/>
                      </a:cubicBezTo>
                      <a:cubicBezTo>
                        <a:pt x="1066" y="244"/>
                        <a:pt x="1064" y="242"/>
                        <a:pt x="1062" y="241"/>
                      </a:cubicBezTo>
                      <a:cubicBezTo>
                        <a:pt x="1061" y="241"/>
                        <a:pt x="1061" y="241"/>
                        <a:pt x="1061" y="241"/>
                      </a:cubicBezTo>
                      <a:cubicBezTo>
                        <a:pt x="1058" y="238"/>
                        <a:pt x="1058" y="238"/>
                        <a:pt x="1058" y="238"/>
                      </a:cubicBezTo>
                      <a:cubicBezTo>
                        <a:pt x="1055" y="237"/>
                        <a:pt x="1055" y="237"/>
                        <a:pt x="1055" y="237"/>
                      </a:cubicBezTo>
                      <a:cubicBezTo>
                        <a:pt x="1053" y="233"/>
                        <a:pt x="1053" y="233"/>
                        <a:pt x="1053" y="233"/>
                      </a:cubicBezTo>
                      <a:cubicBezTo>
                        <a:pt x="1054" y="233"/>
                        <a:pt x="1055" y="233"/>
                        <a:pt x="1056" y="232"/>
                      </a:cubicBezTo>
                      <a:cubicBezTo>
                        <a:pt x="1061" y="231"/>
                        <a:pt x="1061" y="231"/>
                        <a:pt x="1061" y="231"/>
                      </a:cubicBezTo>
                      <a:cubicBezTo>
                        <a:pt x="1063" y="232"/>
                        <a:pt x="1063" y="232"/>
                        <a:pt x="1063" y="232"/>
                      </a:cubicBezTo>
                      <a:cubicBezTo>
                        <a:pt x="1064" y="232"/>
                        <a:pt x="1065" y="232"/>
                        <a:pt x="1066" y="232"/>
                      </a:cubicBezTo>
                      <a:lnTo>
                        <a:pt x="1067" y="232"/>
                      </a:lnTo>
                      <a:close/>
                      <a:moveTo>
                        <a:pt x="1054" y="240"/>
                      </a:moveTo>
                      <a:cubicBezTo>
                        <a:pt x="1054" y="241"/>
                        <a:pt x="1054" y="241"/>
                        <a:pt x="1054" y="241"/>
                      </a:cubicBezTo>
                      <a:cubicBezTo>
                        <a:pt x="1055" y="241"/>
                        <a:pt x="1055" y="242"/>
                        <a:pt x="1055" y="243"/>
                      </a:cubicBezTo>
                      <a:cubicBezTo>
                        <a:pt x="1055" y="242"/>
                        <a:pt x="1054" y="242"/>
                        <a:pt x="1054" y="242"/>
                      </a:cubicBezTo>
                      <a:cubicBezTo>
                        <a:pt x="1053" y="242"/>
                        <a:pt x="1053" y="242"/>
                        <a:pt x="1053" y="242"/>
                      </a:cubicBezTo>
                      <a:cubicBezTo>
                        <a:pt x="1051" y="239"/>
                        <a:pt x="1051" y="239"/>
                        <a:pt x="1051" y="239"/>
                      </a:cubicBezTo>
                      <a:lnTo>
                        <a:pt x="1054" y="240"/>
                      </a:lnTo>
                      <a:close/>
                      <a:moveTo>
                        <a:pt x="1058" y="393"/>
                      </a:moveTo>
                      <a:cubicBezTo>
                        <a:pt x="1064" y="393"/>
                        <a:pt x="1064" y="393"/>
                        <a:pt x="1064" y="393"/>
                      </a:cubicBezTo>
                      <a:cubicBezTo>
                        <a:pt x="1068" y="396"/>
                        <a:pt x="1068" y="396"/>
                        <a:pt x="1068" y="396"/>
                      </a:cubicBezTo>
                      <a:cubicBezTo>
                        <a:pt x="1067" y="399"/>
                        <a:pt x="1067" y="399"/>
                        <a:pt x="1067" y="399"/>
                      </a:cubicBezTo>
                      <a:cubicBezTo>
                        <a:pt x="1063" y="404"/>
                        <a:pt x="1057" y="402"/>
                        <a:pt x="1052" y="399"/>
                      </a:cubicBezTo>
                      <a:cubicBezTo>
                        <a:pt x="1047" y="399"/>
                        <a:pt x="1047" y="399"/>
                        <a:pt x="1047" y="399"/>
                      </a:cubicBezTo>
                      <a:cubicBezTo>
                        <a:pt x="1042" y="391"/>
                        <a:pt x="1042" y="391"/>
                        <a:pt x="1042" y="391"/>
                      </a:cubicBezTo>
                      <a:cubicBezTo>
                        <a:pt x="1040" y="391"/>
                        <a:pt x="1040" y="391"/>
                        <a:pt x="1040" y="391"/>
                      </a:cubicBezTo>
                      <a:cubicBezTo>
                        <a:pt x="1032" y="385"/>
                        <a:pt x="1032" y="385"/>
                        <a:pt x="1032" y="385"/>
                      </a:cubicBezTo>
                      <a:cubicBezTo>
                        <a:pt x="1033" y="382"/>
                        <a:pt x="1033" y="382"/>
                        <a:pt x="1033" y="382"/>
                      </a:cubicBezTo>
                      <a:cubicBezTo>
                        <a:pt x="1032" y="380"/>
                        <a:pt x="1031" y="377"/>
                        <a:pt x="1031" y="373"/>
                      </a:cubicBezTo>
                      <a:cubicBezTo>
                        <a:pt x="1036" y="369"/>
                        <a:pt x="1036" y="369"/>
                        <a:pt x="1036" y="369"/>
                      </a:cubicBezTo>
                      <a:cubicBezTo>
                        <a:pt x="1039" y="373"/>
                        <a:pt x="1050" y="385"/>
                        <a:pt x="1058" y="393"/>
                      </a:cubicBezTo>
                      <a:close/>
                      <a:moveTo>
                        <a:pt x="1092" y="160"/>
                      </a:moveTo>
                      <a:cubicBezTo>
                        <a:pt x="1088" y="158"/>
                        <a:pt x="1088" y="158"/>
                        <a:pt x="1088" y="158"/>
                      </a:cubicBezTo>
                      <a:cubicBezTo>
                        <a:pt x="1090" y="158"/>
                        <a:pt x="1090" y="158"/>
                        <a:pt x="1090" y="158"/>
                      </a:cubicBezTo>
                      <a:cubicBezTo>
                        <a:pt x="1091" y="158"/>
                        <a:pt x="1091" y="158"/>
                        <a:pt x="1091" y="158"/>
                      </a:cubicBezTo>
                      <a:cubicBezTo>
                        <a:pt x="1092" y="158"/>
                        <a:pt x="1092" y="158"/>
                        <a:pt x="1092" y="158"/>
                      </a:cubicBezTo>
                      <a:cubicBezTo>
                        <a:pt x="1092" y="158"/>
                        <a:pt x="1092" y="158"/>
                        <a:pt x="1092" y="158"/>
                      </a:cubicBezTo>
                      <a:cubicBezTo>
                        <a:pt x="1092" y="159"/>
                        <a:pt x="1092" y="159"/>
                        <a:pt x="1092" y="160"/>
                      </a:cubicBezTo>
                      <a:close/>
                      <a:moveTo>
                        <a:pt x="1092" y="154"/>
                      </a:moveTo>
                      <a:cubicBezTo>
                        <a:pt x="1096" y="153"/>
                        <a:pt x="1096" y="153"/>
                        <a:pt x="1096" y="153"/>
                      </a:cubicBezTo>
                      <a:cubicBezTo>
                        <a:pt x="1099" y="153"/>
                        <a:pt x="1099" y="153"/>
                        <a:pt x="1099" y="153"/>
                      </a:cubicBezTo>
                      <a:cubicBezTo>
                        <a:pt x="1099" y="155"/>
                        <a:pt x="1099" y="155"/>
                        <a:pt x="1099" y="155"/>
                      </a:cubicBezTo>
                      <a:cubicBezTo>
                        <a:pt x="1098" y="156"/>
                        <a:pt x="1097" y="156"/>
                        <a:pt x="1097" y="156"/>
                      </a:cubicBezTo>
                      <a:cubicBezTo>
                        <a:pt x="1096" y="157"/>
                        <a:pt x="1096" y="157"/>
                        <a:pt x="1096" y="157"/>
                      </a:cubicBezTo>
                      <a:lnTo>
                        <a:pt x="1092" y="154"/>
                      </a:lnTo>
                      <a:close/>
                      <a:moveTo>
                        <a:pt x="1333" y="158"/>
                      </a:moveTo>
                      <a:cubicBezTo>
                        <a:pt x="1336" y="159"/>
                        <a:pt x="1336" y="159"/>
                        <a:pt x="1336" y="159"/>
                      </a:cubicBezTo>
                      <a:cubicBezTo>
                        <a:pt x="1343" y="157"/>
                        <a:pt x="1351" y="158"/>
                        <a:pt x="1359" y="160"/>
                      </a:cubicBezTo>
                      <a:cubicBezTo>
                        <a:pt x="1364" y="159"/>
                        <a:pt x="1364" y="159"/>
                        <a:pt x="1364" y="159"/>
                      </a:cubicBezTo>
                      <a:cubicBezTo>
                        <a:pt x="1364" y="161"/>
                        <a:pt x="1364" y="161"/>
                        <a:pt x="1364" y="161"/>
                      </a:cubicBezTo>
                      <a:cubicBezTo>
                        <a:pt x="1367" y="161"/>
                        <a:pt x="1370" y="162"/>
                        <a:pt x="1372" y="163"/>
                      </a:cubicBezTo>
                      <a:cubicBezTo>
                        <a:pt x="1380" y="169"/>
                        <a:pt x="1388" y="174"/>
                        <a:pt x="1396" y="180"/>
                      </a:cubicBezTo>
                      <a:cubicBezTo>
                        <a:pt x="1388" y="177"/>
                        <a:pt x="1388" y="177"/>
                        <a:pt x="1388" y="177"/>
                      </a:cubicBezTo>
                      <a:cubicBezTo>
                        <a:pt x="1369" y="168"/>
                        <a:pt x="1369" y="168"/>
                        <a:pt x="1369" y="168"/>
                      </a:cubicBezTo>
                      <a:cubicBezTo>
                        <a:pt x="1368" y="168"/>
                        <a:pt x="1367" y="167"/>
                        <a:pt x="1366" y="167"/>
                      </a:cubicBezTo>
                      <a:cubicBezTo>
                        <a:pt x="1357" y="165"/>
                        <a:pt x="1357" y="165"/>
                        <a:pt x="1357" y="165"/>
                      </a:cubicBezTo>
                      <a:cubicBezTo>
                        <a:pt x="1352" y="166"/>
                        <a:pt x="1352" y="166"/>
                        <a:pt x="1352" y="166"/>
                      </a:cubicBezTo>
                      <a:cubicBezTo>
                        <a:pt x="1346" y="167"/>
                        <a:pt x="1346" y="167"/>
                        <a:pt x="1346" y="167"/>
                      </a:cubicBezTo>
                      <a:cubicBezTo>
                        <a:pt x="1339" y="162"/>
                        <a:pt x="1339" y="162"/>
                        <a:pt x="1339" y="162"/>
                      </a:cubicBezTo>
                      <a:cubicBezTo>
                        <a:pt x="1330" y="160"/>
                        <a:pt x="1330" y="160"/>
                        <a:pt x="1330" y="160"/>
                      </a:cubicBezTo>
                      <a:lnTo>
                        <a:pt x="1333" y="158"/>
                      </a:lnTo>
                      <a:close/>
                      <a:moveTo>
                        <a:pt x="1728" y="678"/>
                      </a:moveTo>
                      <a:cubicBezTo>
                        <a:pt x="1726" y="680"/>
                        <a:pt x="1726" y="680"/>
                        <a:pt x="1726" y="680"/>
                      </a:cubicBezTo>
                      <a:cubicBezTo>
                        <a:pt x="1724" y="678"/>
                        <a:pt x="1724" y="678"/>
                        <a:pt x="1724" y="678"/>
                      </a:cubicBezTo>
                      <a:cubicBezTo>
                        <a:pt x="1724" y="676"/>
                        <a:pt x="1724" y="676"/>
                        <a:pt x="1724" y="676"/>
                      </a:cubicBezTo>
                      <a:cubicBezTo>
                        <a:pt x="1722" y="674"/>
                        <a:pt x="1722" y="672"/>
                        <a:pt x="1722" y="669"/>
                      </a:cubicBezTo>
                      <a:cubicBezTo>
                        <a:pt x="1721" y="667"/>
                        <a:pt x="1721" y="667"/>
                        <a:pt x="1721" y="667"/>
                      </a:cubicBezTo>
                      <a:cubicBezTo>
                        <a:pt x="1722" y="664"/>
                        <a:pt x="1722" y="664"/>
                        <a:pt x="1722" y="664"/>
                      </a:cubicBezTo>
                      <a:cubicBezTo>
                        <a:pt x="1725" y="662"/>
                        <a:pt x="1725" y="662"/>
                        <a:pt x="1725" y="662"/>
                      </a:cubicBezTo>
                      <a:cubicBezTo>
                        <a:pt x="1726" y="665"/>
                        <a:pt x="1726" y="668"/>
                        <a:pt x="1727" y="671"/>
                      </a:cubicBezTo>
                      <a:cubicBezTo>
                        <a:pt x="1728" y="673"/>
                        <a:pt x="1728" y="673"/>
                        <a:pt x="1728" y="673"/>
                      </a:cubicBezTo>
                      <a:lnTo>
                        <a:pt x="1728" y="678"/>
                      </a:lnTo>
                      <a:close/>
                      <a:moveTo>
                        <a:pt x="734" y="29"/>
                      </a:moveTo>
                      <a:cubicBezTo>
                        <a:pt x="738" y="28"/>
                        <a:pt x="742" y="28"/>
                        <a:pt x="746" y="28"/>
                      </a:cubicBezTo>
                      <a:cubicBezTo>
                        <a:pt x="757" y="27"/>
                        <a:pt x="774" y="35"/>
                        <a:pt x="784" y="31"/>
                      </a:cubicBezTo>
                      <a:cubicBezTo>
                        <a:pt x="790" y="29"/>
                        <a:pt x="795" y="24"/>
                        <a:pt x="800" y="20"/>
                      </a:cubicBezTo>
                      <a:cubicBezTo>
                        <a:pt x="805" y="19"/>
                        <a:pt x="810" y="19"/>
                        <a:pt x="815" y="19"/>
                      </a:cubicBezTo>
                      <a:cubicBezTo>
                        <a:pt x="816" y="19"/>
                        <a:pt x="816" y="19"/>
                        <a:pt x="816" y="19"/>
                      </a:cubicBezTo>
                      <a:cubicBezTo>
                        <a:pt x="814" y="22"/>
                        <a:pt x="813" y="25"/>
                        <a:pt x="812" y="28"/>
                      </a:cubicBezTo>
                      <a:cubicBezTo>
                        <a:pt x="818" y="28"/>
                        <a:pt x="821" y="23"/>
                        <a:pt x="826" y="18"/>
                      </a:cubicBezTo>
                      <a:cubicBezTo>
                        <a:pt x="846" y="16"/>
                        <a:pt x="866" y="16"/>
                        <a:pt x="887" y="16"/>
                      </a:cubicBezTo>
                      <a:cubicBezTo>
                        <a:pt x="895" y="16"/>
                        <a:pt x="904" y="16"/>
                        <a:pt x="913" y="16"/>
                      </a:cubicBezTo>
                      <a:cubicBezTo>
                        <a:pt x="918" y="19"/>
                        <a:pt x="921" y="22"/>
                        <a:pt x="910" y="24"/>
                      </a:cubicBezTo>
                      <a:cubicBezTo>
                        <a:pt x="917" y="28"/>
                        <a:pt x="928" y="28"/>
                        <a:pt x="934" y="32"/>
                      </a:cubicBezTo>
                      <a:cubicBezTo>
                        <a:pt x="923" y="33"/>
                        <a:pt x="911" y="31"/>
                        <a:pt x="906" y="38"/>
                      </a:cubicBezTo>
                      <a:cubicBezTo>
                        <a:pt x="913" y="40"/>
                        <a:pt x="919" y="45"/>
                        <a:pt x="921" y="52"/>
                      </a:cubicBezTo>
                      <a:cubicBezTo>
                        <a:pt x="902" y="48"/>
                        <a:pt x="883" y="76"/>
                        <a:pt x="866" y="70"/>
                      </a:cubicBezTo>
                      <a:cubicBezTo>
                        <a:pt x="867" y="68"/>
                        <a:pt x="867" y="67"/>
                        <a:pt x="868" y="65"/>
                      </a:cubicBezTo>
                      <a:cubicBezTo>
                        <a:pt x="865" y="67"/>
                        <a:pt x="863" y="65"/>
                        <a:pt x="859" y="69"/>
                      </a:cubicBezTo>
                      <a:cubicBezTo>
                        <a:pt x="848" y="53"/>
                        <a:pt x="814" y="68"/>
                        <a:pt x="799" y="68"/>
                      </a:cubicBezTo>
                      <a:cubicBezTo>
                        <a:pt x="793" y="68"/>
                        <a:pt x="789" y="63"/>
                        <a:pt x="782" y="62"/>
                      </a:cubicBezTo>
                      <a:cubicBezTo>
                        <a:pt x="777" y="62"/>
                        <a:pt x="767" y="64"/>
                        <a:pt x="762" y="64"/>
                      </a:cubicBezTo>
                      <a:cubicBezTo>
                        <a:pt x="749" y="64"/>
                        <a:pt x="751" y="79"/>
                        <a:pt x="741" y="85"/>
                      </a:cubicBezTo>
                      <a:cubicBezTo>
                        <a:pt x="740" y="82"/>
                        <a:pt x="740" y="80"/>
                        <a:pt x="740" y="78"/>
                      </a:cubicBezTo>
                      <a:cubicBezTo>
                        <a:pt x="733" y="87"/>
                        <a:pt x="721" y="90"/>
                        <a:pt x="710" y="93"/>
                      </a:cubicBezTo>
                      <a:cubicBezTo>
                        <a:pt x="696" y="97"/>
                        <a:pt x="686" y="103"/>
                        <a:pt x="670" y="108"/>
                      </a:cubicBezTo>
                      <a:cubicBezTo>
                        <a:pt x="657" y="112"/>
                        <a:pt x="646" y="106"/>
                        <a:pt x="638" y="119"/>
                      </a:cubicBezTo>
                      <a:cubicBezTo>
                        <a:pt x="637" y="121"/>
                        <a:pt x="603" y="130"/>
                        <a:pt x="631" y="128"/>
                      </a:cubicBezTo>
                      <a:cubicBezTo>
                        <a:pt x="628" y="140"/>
                        <a:pt x="625" y="135"/>
                        <a:pt x="618" y="141"/>
                      </a:cubicBezTo>
                      <a:cubicBezTo>
                        <a:pt x="608" y="148"/>
                        <a:pt x="603" y="158"/>
                        <a:pt x="593" y="162"/>
                      </a:cubicBezTo>
                      <a:cubicBezTo>
                        <a:pt x="602" y="175"/>
                        <a:pt x="627" y="159"/>
                        <a:pt x="632" y="169"/>
                      </a:cubicBezTo>
                      <a:cubicBezTo>
                        <a:pt x="635" y="175"/>
                        <a:pt x="591" y="182"/>
                        <a:pt x="583" y="182"/>
                      </a:cubicBezTo>
                      <a:cubicBezTo>
                        <a:pt x="585" y="184"/>
                        <a:pt x="584" y="184"/>
                        <a:pt x="587" y="187"/>
                      </a:cubicBezTo>
                      <a:cubicBezTo>
                        <a:pt x="580" y="189"/>
                        <a:pt x="570" y="189"/>
                        <a:pt x="564" y="197"/>
                      </a:cubicBezTo>
                      <a:cubicBezTo>
                        <a:pt x="571" y="203"/>
                        <a:pt x="580" y="202"/>
                        <a:pt x="589" y="202"/>
                      </a:cubicBezTo>
                      <a:cubicBezTo>
                        <a:pt x="579" y="227"/>
                        <a:pt x="545" y="206"/>
                        <a:pt x="542" y="190"/>
                      </a:cubicBezTo>
                      <a:cubicBezTo>
                        <a:pt x="535" y="193"/>
                        <a:pt x="524" y="189"/>
                        <a:pt x="519" y="185"/>
                      </a:cubicBezTo>
                      <a:cubicBezTo>
                        <a:pt x="509" y="179"/>
                        <a:pt x="497" y="185"/>
                        <a:pt x="486" y="185"/>
                      </a:cubicBezTo>
                      <a:cubicBezTo>
                        <a:pt x="478" y="185"/>
                        <a:pt x="466" y="185"/>
                        <a:pt x="458" y="189"/>
                      </a:cubicBezTo>
                      <a:cubicBezTo>
                        <a:pt x="454" y="191"/>
                        <a:pt x="455" y="201"/>
                        <a:pt x="446" y="202"/>
                      </a:cubicBezTo>
                      <a:cubicBezTo>
                        <a:pt x="440" y="203"/>
                        <a:pt x="438" y="204"/>
                        <a:pt x="433" y="207"/>
                      </a:cubicBezTo>
                      <a:cubicBezTo>
                        <a:pt x="415" y="217"/>
                        <a:pt x="396" y="240"/>
                        <a:pt x="386" y="257"/>
                      </a:cubicBezTo>
                      <a:cubicBezTo>
                        <a:pt x="384" y="260"/>
                        <a:pt x="386" y="266"/>
                        <a:pt x="384" y="268"/>
                      </a:cubicBezTo>
                      <a:cubicBezTo>
                        <a:pt x="382" y="271"/>
                        <a:pt x="375" y="272"/>
                        <a:pt x="372" y="275"/>
                      </a:cubicBezTo>
                      <a:cubicBezTo>
                        <a:pt x="364" y="282"/>
                        <a:pt x="352" y="285"/>
                        <a:pt x="344" y="294"/>
                      </a:cubicBezTo>
                      <a:cubicBezTo>
                        <a:pt x="355" y="306"/>
                        <a:pt x="367" y="291"/>
                        <a:pt x="378" y="286"/>
                      </a:cubicBezTo>
                      <a:cubicBezTo>
                        <a:pt x="387" y="281"/>
                        <a:pt x="401" y="295"/>
                        <a:pt x="411" y="284"/>
                      </a:cubicBezTo>
                      <a:cubicBezTo>
                        <a:pt x="427" y="269"/>
                        <a:pt x="427" y="265"/>
                        <a:pt x="446" y="265"/>
                      </a:cubicBezTo>
                      <a:cubicBezTo>
                        <a:pt x="460" y="265"/>
                        <a:pt x="473" y="249"/>
                        <a:pt x="488" y="252"/>
                      </a:cubicBezTo>
                      <a:cubicBezTo>
                        <a:pt x="479" y="272"/>
                        <a:pt x="464" y="287"/>
                        <a:pt x="447" y="301"/>
                      </a:cubicBezTo>
                      <a:cubicBezTo>
                        <a:pt x="444" y="303"/>
                        <a:pt x="428" y="306"/>
                        <a:pt x="427" y="311"/>
                      </a:cubicBezTo>
                      <a:cubicBezTo>
                        <a:pt x="426" y="326"/>
                        <a:pt x="438" y="327"/>
                        <a:pt x="450" y="324"/>
                      </a:cubicBezTo>
                      <a:cubicBezTo>
                        <a:pt x="445" y="330"/>
                        <a:pt x="427" y="343"/>
                        <a:pt x="427" y="348"/>
                      </a:cubicBezTo>
                      <a:cubicBezTo>
                        <a:pt x="427" y="354"/>
                        <a:pt x="406" y="360"/>
                        <a:pt x="404" y="358"/>
                      </a:cubicBezTo>
                      <a:cubicBezTo>
                        <a:pt x="394" y="366"/>
                        <a:pt x="392" y="383"/>
                        <a:pt x="391" y="391"/>
                      </a:cubicBezTo>
                      <a:cubicBezTo>
                        <a:pt x="390" y="396"/>
                        <a:pt x="390" y="405"/>
                        <a:pt x="387" y="409"/>
                      </a:cubicBezTo>
                      <a:cubicBezTo>
                        <a:pt x="383" y="413"/>
                        <a:pt x="376" y="401"/>
                        <a:pt x="370" y="403"/>
                      </a:cubicBezTo>
                      <a:cubicBezTo>
                        <a:pt x="381" y="408"/>
                        <a:pt x="385" y="426"/>
                        <a:pt x="373" y="428"/>
                      </a:cubicBezTo>
                      <a:cubicBezTo>
                        <a:pt x="365" y="430"/>
                        <a:pt x="339" y="432"/>
                        <a:pt x="331" y="426"/>
                      </a:cubicBezTo>
                      <a:cubicBezTo>
                        <a:pt x="318" y="415"/>
                        <a:pt x="338" y="394"/>
                        <a:pt x="313" y="391"/>
                      </a:cubicBezTo>
                      <a:cubicBezTo>
                        <a:pt x="304" y="390"/>
                        <a:pt x="284" y="388"/>
                        <a:pt x="277" y="390"/>
                      </a:cubicBezTo>
                      <a:cubicBezTo>
                        <a:pt x="285" y="396"/>
                        <a:pt x="301" y="394"/>
                        <a:pt x="305" y="401"/>
                      </a:cubicBezTo>
                      <a:cubicBezTo>
                        <a:pt x="310" y="411"/>
                        <a:pt x="302" y="425"/>
                        <a:pt x="292" y="416"/>
                      </a:cubicBezTo>
                      <a:cubicBezTo>
                        <a:pt x="291" y="418"/>
                        <a:pt x="290" y="419"/>
                        <a:pt x="289" y="421"/>
                      </a:cubicBezTo>
                      <a:cubicBezTo>
                        <a:pt x="290" y="421"/>
                        <a:pt x="291" y="422"/>
                        <a:pt x="293" y="422"/>
                      </a:cubicBezTo>
                      <a:cubicBezTo>
                        <a:pt x="276" y="428"/>
                        <a:pt x="285" y="465"/>
                        <a:pt x="270" y="462"/>
                      </a:cubicBezTo>
                      <a:cubicBezTo>
                        <a:pt x="265" y="460"/>
                        <a:pt x="241" y="463"/>
                        <a:pt x="245" y="454"/>
                      </a:cubicBezTo>
                      <a:cubicBezTo>
                        <a:pt x="249" y="444"/>
                        <a:pt x="266" y="446"/>
                        <a:pt x="270" y="454"/>
                      </a:cubicBezTo>
                      <a:cubicBezTo>
                        <a:pt x="284" y="433"/>
                        <a:pt x="216" y="413"/>
                        <a:pt x="223" y="441"/>
                      </a:cubicBezTo>
                      <a:cubicBezTo>
                        <a:pt x="210" y="436"/>
                        <a:pt x="224" y="427"/>
                        <a:pt x="218" y="421"/>
                      </a:cubicBezTo>
                      <a:cubicBezTo>
                        <a:pt x="214" y="417"/>
                        <a:pt x="202" y="423"/>
                        <a:pt x="197" y="423"/>
                      </a:cubicBezTo>
                      <a:cubicBezTo>
                        <a:pt x="199" y="422"/>
                        <a:pt x="200" y="420"/>
                        <a:pt x="203" y="418"/>
                      </a:cubicBezTo>
                      <a:cubicBezTo>
                        <a:pt x="202" y="418"/>
                        <a:pt x="202" y="417"/>
                        <a:pt x="201" y="417"/>
                      </a:cubicBezTo>
                      <a:cubicBezTo>
                        <a:pt x="191" y="420"/>
                        <a:pt x="191" y="427"/>
                        <a:pt x="184" y="433"/>
                      </a:cubicBezTo>
                      <a:cubicBezTo>
                        <a:pt x="178" y="438"/>
                        <a:pt x="168" y="436"/>
                        <a:pt x="173" y="447"/>
                      </a:cubicBezTo>
                      <a:cubicBezTo>
                        <a:pt x="160" y="450"/>
                        <a:pt x="134" y="440"/>
                        <a:pt x="128" y="460"/>
                      </a:cubicBezTo>
                      <a:cubicBezTo>
                        <a:pt x="126" y="465"/>
                        <a:pt x="119" y="479"/>
                        <a:pt x="112" y="488"/>
                      </a:cubicBezTo>
                      <a:cubicBezTo>
                        <a:pt x="152" y="409"/>
                        <a:pt x="206" y="336"/>
                        <a:pt x="270" y="271"/>
                      </a:cubicBezTo>
                      <a:cubicBezTo>
                        <a:pt x="398" y="143"/>
                        <a:pt x="560" y="59"/>
                        <a:pt x="734" y="29"/>
                      </a:cubicBezTo>
                      <a:close/>
                      <a:moveTo>
                        <a:pt x="617" y="161"/>
                      </a:moveTo>
                      <a:cubicBezTo>
                        <a:pt x="611" y="166"/>
                        <a:pt x="608" y="165"/>
                        <a:pt x="605" y="161"/>
                      </a:cubicBezTo>
                      <a:cubicBezTo>
                        <a:pt x="611" y="157"/>
                        <a:pt x="614" y="153"/>
                        <a:pt x="617" y="161"/>
                      </a:cubicBezTo>
                      <a:close/>
                      <a:moveTo>
                        <a:pt x="485" y="244"/>
                      </a:moveTo>
                      <a:cubicBezTo>
                        <a:pt x="482" y="248"/>
                        <a:pt x="482" y="245"/>
                        <a:pt x="480" y="244"/>
                      </a:cubicBezTo>
                      <a:cubicBezTo>
                        <a:pt x="481" y="244"/>
                        <a:pt x="483" y="244"/>
                        <a:pt x="485" y="244"/>
                      </a:cubicBezTo>
                      <a:close/>
                      <a:moveTo>
                        <a:pt x="395" y="275"/>
                      </a:moveTo>
                      <a:cubicBezTo>
                        <a:pt x="409" y="269"/>
                        <a:pt x="404" y="283"/>
                        <a:pt x="395" y="275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endParaRPr>
                </a:p>
              </p:txBody>
            </p:sp>
          </p:grpSp>
          <p:sp>
            <p:nvSpPr>
              <p:cNvPr id="106" name="Rechteck 10">
                <a:extLst>
                  <a:ext uri="{FF2B5EF4-FFF2-40B4-BE49-F238E27FC236}">
                    <a16:creationId xmlns:a16="http://schemas.microsoft.com/office/drawing/2014/main" id="{F04AD7E4-8763-4DB4-ABB0-534869DE1A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962545" y="3167027"/>
                <a:ext cx="1615828" cy="830997"/>
              </a:xfrm>
              <a:prstGeom prst="rect">
                <a:avLst/>
              </a:prstGeom>
            </p:spPr>
            <p:txBody>
              <a:bodyPr wrap="none" lIns="0" tIns="0" rIns="0" bIns="0" anchor="ctr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60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5400" b="1" i="0" u="none" strike="noStrike" kern="0" cap="none" spc="0" normalizeH="0" baseline="0" noProof="0" dirty="0">
                    <a:ln w="19050">
                      <a:solidFill>
                        <a:srgbClr val="D7D7CD"/>
                      </a:solidFill>
                    </a:ln>
                    <a:solidFill>
                      <a:srgbClr val="55A0B9"/>
                    </a:solidFill>
                    <a:effectLst/>
                    <a:uLnTx/>
                    <a:uFillTx/>
                  </a:rPr>
                  <a:t>www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1942878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3" grpId="0"/>
      <p:bldP spid="15" grpId="0"/>
      <p:bldP spid="16" grpId="0"/>
      <p:bldP spid="19" grpId="0"/>
      <p:bldP spid="25" grpId="0"/>
      <p:bldP spid="2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BBB4BA0-6A5E-4A0A-B043-80E27345B1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mart-X</a:t>
            </a:r>
            <a:br>
              <a:rPr lang="en-GB" dirty="0"/>
            </a:br>
            <a:r>
              <a:rPr lang="en-US" dirty="0">
                <a:solidFill>
                  <a:srgbClr val="00B050"/>
                </a:solidFill>
              </a:rPr>
              <a:t>Universal, domain-independent standards </a:t>
            </a:r>
            <a:r>
              <a:rPr lang="en-US" dirty="0"/>
              <a:t>will allow …</a:t>
            </a:r>
            <a:endParaRPr lang="en-GB" dirty="0"/>
          </a:p>
        </p:txBody>
      </p:sp>
      <p:sp>
        <p:nvSpPr>
          <p:cNvPr id="3" name="Rechteck 131">
            <a:extLst>
              <a:ext uri="{FF2B5EF4-FFF2-40B4-BE49-F238E27FC236}">
                <a16:creationId xmlns:a16="http://schemas.microsoft.com/office/drawing/2014/main" id="{8B0CDED0-4FF9-4812-8715-A7EA757C7795}"/>
              </a:ext>
            </a:extLst>
          </p:cNvPr>
          <p:cNvSpPr/>
          <p:nvPr/>
        </p:nvSpPr>
        <p:spPr bwMode="gray">
          <a:xfrm>
            <a:off x="16183" y="1360328"/>
            <a:ext cx="12198350" cy="4916169"/>
          </a:xfrm>
          <a:prstGeom prst="rect">
            <a:avLst/>
          </a:prstGeom>
          <a:solidFill>
            <a:srgbClr val="D7D7CD"/>
          </a:solidFill>
          <a:ln>
            <a:noFill/>
          </a:ln>
          <a:effectLst/>
          <a:extLst/>
        </p:spPr>
        <p:txBody>
          <a:bodyPr wrap="square" lIns="626400" tIns="504000" rIns="108000" bIns="54000" numCol="1" spcCol="72000" rtlCol="0" anchor="t">
            <a:noAutofit/>
          </a:bodyPr>
          <a:lstStyle/>
          <a:p>
            <a:pPr lvl="0">
              <a:lnSpc>
                <a:spcPct val="110000"/>
              </a:lnSpc>
              <a:spcBef>
                <a:spcPct val="0"/>
              </a:spcBef>
            </a:pPr>
            <a:endParaRPr lang="en-US" sz="2400" b="1" dirty="0">
              <a:solidFill>
                <a:srgbClr val="505A64"/>
              </a:solidFill>
            </a:endParaRPr>
          </a:p>
        </p:txBody>
      </p:sp>
      <p:grpSp>
        <p:nvGrpSpPr>
          <p:cNvPr id="4" name="Group 32">
            <a:extLst>
              <a:ext uri="{FF2B5EF4-FFF2-40B4-BE49-F238E27FC236}">
                <a16:creationId xmlns:a16="http://schemas.microsoft.com/office/drawing/2014/main" id="{0BEF8F26-1FDA-43E1-95A7-96905EC903BD}"/>
              </a:ext>
            </a:extLst>
          </p:cNvPr>
          <p:cNvGrpSpPr/>
          <p:nvPr/>
        </p:nvGrpSpPr>
        <p:grpSpPr bwMode="gray">
          <a:xfrm>
            <a:off x="5029199" y="2621279"/>
            <a:ext cx="2301241" cy="2164081"/>
            <a:chOff x="4911422" y="2441210"/>
            <a:chExt cx="1614523" cy="1674103"/>
          </a:xfrm>
        </p:grpSpPr>
        <p:sp>
          <p:nvSpPr>
            <p:cNvPr id="5" name="Freeform 31">
              <a:extLst>
                <a:ext uri="{FF2B5EF4-FFF2-40B4-BE49-F238E27FC236}">
                  <a16:creationId xmlns:a16="http://schemas.microsoft.com/office/drawing/2014/main" id="{3F94EF8C-D52E-449B-8A4F-E294C4EC8E3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65869" y="2441210"/>
              <a:ext cx="705630" cy="440140"/>
            </a:xfrm>
            <a:custGeom>
              <a:avLst/>
              <a:gdLst/>
              <a:ahLst/>
              <a:cxnLst>
                <a:cxn ang="0">
                  <a:pos x="0" y="56"/>
                </a:cxn>
                <a:cxn ang="0">
                  <a:pos x="12" y="35"/>
                </a:cxn>
                <a:cxn ang="0">
                  <a:pos x="48" y="0"/>
                </a:cxn>
                <a:cxn ang="0">
                  <a:pos x="79" y="17"/>
                </a:cxn>
                <a:cxn ang="0">
                  <a:pos x="86" y="16"/>
                </a:cxn>
                <a:cxn ang="0">
                  <a:pos x="110" y="33"/>
                </a:cxn>
                <a:cxn ang="0">
                  <a:pos x="128" y="56"/>
                </a:cxn>
                <a:cxn ang="0">
                  <a:pos x="104" y="80"/>
                </a:cxn>
                <a:cxn ang="0">
                  <a:pos x="24" y="80"/>
                </a:cxn>
                <a:cxn ang="0">
                  <a:pos x="0" y="56"/>
                </a:cxn>
              </a:cxnLst>
              <a:rect l="0" t="0" r="r" b="b"/>
              <a:pathLst>
                <a:path w="128" h="80">
                  <a:moveTo>
                    <a:pt x="0" y="56"/>
                  </a:moveTo>
                  <a:cubicBezTo>
                    <a:pt x="0" y="47"/>
                    <a:pt x="5" y="39"/>
                    <a:pt x="12" y="35"/>
                  </a:cubicBezTo>
                  <a:cubicBezTo>
                    <a:pt x="12" y="16"/>
                    <a:pt x="28" y="0"/>
                    <a:pt x="48" y="0"/>
                  </a:cubicBezTo>
                  <a:cubicBezTo>
                    <a:pt x="61" y="0"/>
                    <a:pt x="72" y="7"/>
                    <a:pt x="79" y="17"/>
                  </a:cubicBezTo>
                  <a:cubicBezTo>
                    <a:pt x="81" y="16"/>
                    <a:pt x="83" y="16"/>
                    <a:pt x="86" y="16"/>
                  </a:cubicBezTo>
                  <a:cubicBezTo>
                    <a:pt x="97" y="16"/>
                    <a:pt x="107" y="23"/>
                    <a:pt x="110" y="33"/>
                  </a:cubicBezTo>
                  <a:cubicBezTo>
                    <a:pt x="121" y="36"/>
                    <a:pt x="128" y="45"/>
                    <a:pt x="128" y="56"/>
                  </a:cubicBezTo>
                  <a:cubicBezTo>
                    <a:pt x="128" y="69"/>
                    <a:pt x="117" y="80"/>
                    <a:pt x="104" y="80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11" y="80"/>
                    <a:pt x="0" y="69"/>
                    <a:pt x="0" y="56"/>
                  </a:cubicBezTo>
                  <a:close/>
                </a:path>
              </a:pathLst>
            </a:custGeom>
            <a:noFill/>
            <a:ln w="28575" cap="flat" cmpd="sng" algn="ctr">
              <a:solidFill>
                <a:srgbClr val="AAB414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spcBef>
                  <a:spcPct val="50000"/>
                </a:spcBef>
                <a:buFontTx/>
                <a:buNone/>
              </a:pPr>
              <a:endParaRPr lang="en-US" sz="1800" dirty="0">
                <a:solidFill>
                  <a:srgbClr val="879BAA"/>
                </a:solidFill>
                <a:latin typeface="Arial" pitchFamily="34" charset="0"/>
              </a:endParaRPr>
            </a:p>
          </p:txBody>
        </p:sp>
        <p:grpSp>
          <p:nvGrpSpPr>
            <p:cNvPr id="6" name="Group 332">
              <a:extLst>
                <a:ext uri="{FF2B5EF4-FFF2-40B4-BE49-F238E27FC236}">
                  <a16:creationId xmlns:a16="http://schemas.microsoft.com/office/drawing/2014/main" id="{6A4C510C-8961-4BDB-9BCD-C71753FB5EAB}"/>
                </a:ext>
              </a:extLst>
            </p:cNvPr>
            <p:cNvGrpSpPr/>
            <p:nvPr/>
          </p:nvGrpSpPr>
          <p:grpSpPr bwMode="gray">
            <a:xfrm>
              <a:off x="4911422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7" name="Freeform 86">
                <a:extLst>
                  <a:ext uri="{FF2B5EF4-FFF2-40B4-BE49-F238E27FC236}">
                    <a16:creationId xmlns:a16="http://schemas.microsoft.com/office/drawing/2014/main" id="{8E55C669-3418-434F-89F7-B837A411325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Freeform 87">
                <a:extLst>
                  <a:ext uri="{FF2B5EF4-FFF2-40B4-BE49-F238E27FC236}">
                    <a16:creationId xmlns:a16="http://schemas.microsoft.com/office/drawing/2014/main" id="{D9EF4B2F-7D97-48A0-A17F-29C1CFC6DEA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88">
                <a:extLst>
                  <a:ext uri="{FF2B5EF4-FFF2-40B4-BE49-F238E27FC236}">
                    <a16:creationId xmlns:a16="http://schemas.microsoft.com/office/drawing/2014/main" id="{7A1B0E3A-4364-476C-9C50-1F415333E84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7" name="Group 333">
              <a:extLst>
                <a:ext uri="{FF2B5EF4-FFF2-40B4-BE49-F238E27FC236}">
                  <a16:creationId xmlns:a16="http://schemas.microsoft.com/office/drawing/2014/main" id="{F0F9C9F4-19FE-4A3E-B708-7AE4A2D426BB}"/>
                </a:ext>
              </a:extLst>
            </p:cNvPr>
            <p:cNvGrpSpPr/>
            <p:nvPr/>
          </p:nvGrpSpPr>
          <p:grpSpPr bwMode="gray">
            <a:xfrm>
              <a:off x="5354588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4" name="Freeform 86">
                <a:extLst>
                  <a:ext uri="{FF2B5EF4-FFF2-40B4-BE49-F238E27FC236}">
                    <a16:creationId xmlns:a16="http://schemas.microsoft.com/office/drawing/2014/main" id="{37F3C612-A2D4-47C1-8F66-9806ED232D5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Freeform 87">
                <a:extLst>
                  <a:ext uri="{FF2B5EF4-FFF2-40B4-BE49-F238E27FC236}">
                    <a16:creationId xmlns:a16="http://schemas.microsoft.com/office/drawing/2014/main" id="{DE481583-3824-42C9-A482-FFBB32AC04E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Freeform 88">
                <a:extLst>
                  <a:ext uri="{FF2B5EF4-FFF2-40B4-BE49-F238E27FC236}">
                    <a16:creationId xmlns:a16="http://schemas.microsoft.com/office/drawing/2014/main" id="{7FBB219E-0070-4A17-9A6F-84EB568717CC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8" name="Gerade Verbindung mit Pfeil 33">
              <a:extLst>
                <a:ext uri="{FF2B5EF4-FFF2-40B4-BE49-F238E27FC236}">
                  <a16:creationId xmlns:a16="http://schemas.microsoft.com/office/drawing/2014/main" id="{6A362022-5488-4E48-8210-B924DB6B493B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310872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9" name="Group 368">
              <a:extLst>
                <a:ext uri="{FF2B5EF4-FFF2-40B4-BE49-F238E27FC236}">
                  <a16:creationId xmlns:a16="http://schemas.microsoft.com/office/drawing/2014/main" id="{E9C9E65E-0FE1-49FE-8F07-C441EB442774}"/>
                </a:ext>
              </a:extLst>
            </p:cNvPr>
            <p:cNvGrpSpPr/>
            <p:nvPr/>
          </p:nvGrpSpPr>
          <p:grpSpPr bwMode="gray">
            <a:xfrm flipH="1">
              <a:off x="6130907" y="3277386"/>
              <a:ext cx="395038" cy="462608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31" name="Freeform 86">
                <a:extLst>
                  <a:ext uri="{FF2B5EF4-FFF2-40B4-BE49-F238E27FC236}">
                    <a16:creationId xmlns:a16="http://schemas.microsoft.com/office/drawing/2014/main" id="{A559A05D-41EA-4C72-BB24-322B0FFE531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87">
                <a:extLst>
                  <a:ext uri="{FF2B5EF4-FFF2-40B4-BE49-F238E27FC236}">
                    <a16:creationId xmlns:a16="http://schemas.microsoft.com/office/drawing/2014/main" id="{3C5297BB-D461-4594-91C5-B585676AA13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" name="Freeform 88">
                <a:extLst>
                  <a:ext uri="{FF2B5EF4-FFF2-40B4-BE49-F238E27FC236}">
                    <a16:creationId xmlns:a16="http://schemas.microsoft.com/office/drawing/2014/main" id="{B3EBDAB4-157E-416E-8989-12A63AB56C8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0" name="Group 372">
              <a:extLst>
                <a:ext uri="{FF2B5EF4-FFF2-40B4-BE49-F238E27FC236}">
                  <a16:creationId xmlns:a16="http://schemas.microsoft.com/office/drawing/2014/main" id="{0EFED1CC-17DC-4634-95B5-D5BEA009914A}"/>
                </a:ext>
              </a:extLst>
            </p:cNvPr>
            <p:cNvGrpSpPr/>
            <p:nvPr/>
          </p:nvGrpSpPr>
          <p:grpSpPr bwMode="gray">
            <a:xfrm flipH="1">
              <a:off x="5860044" y="3854477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8" name="Freeform 86">
                <a:extLst>
                  <a:ext uri="{FF2B5EF4-FFF2-40B4-BE49-F238E27FC236}">
                    <a16:creationId xmlns:a16="http://schemas.microsoft.com/office/drawing/2014/main" id="{8574AB8E-F458-4872-A3AE-768158B235D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Freeform 87">
                <a:extLst>
                  <a:ext uri="{FF2B5EF4-FFF2-40B4-BE49-F238E27FC236}">
                    <a16:creationId xmlns:a16="http://schemas.microsoft.com/office/drawing/2014/main" id="{BAE2F49D-34C2-4821-8C26-06DB249980C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88">
                <a:extLst>
                  <a:ext uri="{FF2B5EF4-FFF2-40B4-BE49-F238E27FC236}">
                    <a16:creationId xmlns:a16="http://schemas.microsoft.com/office/drawing/2014/main" id="{C38D531E-72DF-4FF1-95D1-AEC03365651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1" name="Gerade Verbindung mit Pfeil 33">
              <a:extLst>
                <a:ext uri="{FF2B5EF4-FFF2-40B4-BE49-F238E27FC236}">
                  <a16:creationId xmlns:a16="http://schemas.microsoft.com/office/drawing/2014/main" id="{75C7897D-D30E-4A94-B18F-039C69FBA0BC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6126496" y="3692072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2" name="Gerade Verbindung mit Pfeil 33">
              <a:extLst>
                <a:ext uri="{FF2B5EF4-FFF2-40B4-BE49-F238E27FC236}">
                  <a16:creationId xmlns:a16="http://schemas.microsoft.com/office/drawing/2014/main" id="{EF23CA57-ABEB-4A36-87BF-4273CC10B085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18900000" flipH="1" flipV="1">
              <a:off x="5826701" y="3712285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3" name="Gerade Verbindung mit Pfeil 33">
              <a:extLst>
                <a:ext uri="{FF2B5EF4-FFF2-40B4-BE49-F238E27FC236}">
                  <a16:creationId xmlns:a16="http://schemas.microsoft.com/office/drawing/2014/main" id="{CF88FC8B-6975-4E50-98B7-3E8C31FF7EF2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rot="2700000" flipV="1">
              <a:off x="5612825" y="3712286"/>
              <a:ext cx="0" cy="189096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14" name="Group 379">
              <a:extLst>
                <a:ext uri="{FF2B5EF4-FFF2-40B4-BE49-F238E27FC236}">
                  <a16:creationId xmlns:a16="http://schemas.microsoft.com/office/drawing/2014/main" id="{F34246E7-185E-464D-917A-05BADD5E66A0}"/>
                </a:ext>
              </a:extLst>
            </p:cNvPr>
            <p:cNvGrpSpPr/>
            <p:nvPr/>
          </p:nvGrpSpPr>
          <p:grpSpPr bwMode="gray">
            <a:xfrm>
              <a:off x="5607264" y="3453974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5" name="Freeform 86">
                <a:extLst>
                  <a:ext uri="{FF2B5EF4-FFF2-40B4-BE49-F238E27FC236}">
                    <a16:creationId xmlns:a16="http://schemas.microsoft.com/office/drawing/2014/main" id="{E1D1D86E-E409-42C5-B912-EA1E8F0CA2C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87">
                <a:extLst>
                  <a:ext uri="{FF2B5EF4-FFF2-40B4-BE49-F238E27FC236}">
                    <a16:creationId xmlns:a16="http://schemas.microsoft.com/office/drawing/2014/main" id="{032BBBF0-139D-4D65-A869-87DAAE66E5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88">
                <a:extLst>
                  <a:ext uri="{FF2B5EF4-FFF2-40B4-BE49-F238E27FC236}">
                    <a16:creationId xmlns:a16="http://schemas.microsoft.com/office/drawing/2014/main" id="{53A01930-D84A-4AF7-8538-A2411814D4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5" name="Gerade Verbindung mit Pfeil 33">
              <a:extLst>
                <a:ext uri="{FF2B5EF4-FFF2-40B4-BE49-F238E27FC236}">
                  <a16:creationId xmlns:a16="http://schemas.microsoft.com/office/drawing/2014/main" id="{7C0C683E-8BF5-45B0-958C-139BB07D33F5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354588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grpSp>
          <p:nvGrpSpPr>
            <p:cNvPr id="16" name="Group 385">
              <a:extLst>
                <a:ext uri="{FF2B5EF4-FFF2-40B4-BE49-F238E27FC236}">
                  <a16:creationId xmlns:a16="http://schemas.microsoft.com/office/drawing/2014/main" id="{EF33BAE6-DBC4-4267-B97F-08EEDA4A3CE8}"/>
                </a:ext>
              </a:extLst>
            </p:cNvPr>
            <p:cNvGrpSpPr/>
            <p:nvPr/>
          </p:nvGrpSpPr>
          <p:grpSpPr bwMode="gray">
            <a:xfrm>
              <a:off x="5607265" y="3106460"/>
              <a:ext cx="222736" cy="260836"/>
              <a:chOff x="5082975" y="2274977"/>
              <a:chExt cx="604069" cy="707395"/>
            </a:xfrm>
            <a:solidFill>
              <a:srgbClr val="505A64"/>
            </a:solidFill>
          </p:grpSpPr>
          <p:sp>
            <p:nvSpPr>
              <p:cNvPr id="22" name="Freeform 86">
                <a:extLst>
                  <a:ext uri="{FF2B5EF4-FFF2-40B4-BE49-F238E27FC236}">
                    <a16:creationId xmlns:a16="http://schemas.microsoft.com/office/drawing/2014/main" id="{F255B75D-C5DC-43DD-92D6-EAD2F058983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82975" y="2460966"/>
                <a:ext cx="289317" cy="521406"/>
              </a:xfrm>
              <a:custGeom>
                <a:avLst/>
                <a:gdLst>
                  <a:gd name="T0" fmla="*/ 0 w 182"/>
                  <a:gd name="T1" fmla="*/ 219 h 328"/>
                  <a:gd name="T2" fmla="*/ 182 w 182"/>
                  <a:gd name="T3" fmla="*/ 328 h 328"/>
                  <a:gd name="T4" fmla="*/ 182 w 182"/>
                  <a:gd name="T5" fmla="*/ 109 h 328"/>
                  <a:gd name="T6" fmla="*/ 0 w 182"/>
                  <a:gd name="T7" fmla="*/ 0 h 328"/>
                  <a:gd name="T8" fmla="*/ 0 w 182"/>
                  <a:gd name="T9" fmla="*/ 21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219"/>
                    </a:moveTo>
                    <a:lnTo>
                      <a:pt x="182" y="328"/>
                    </a:lnTo>
                    <a:lnTo>
                      <a:pt x="182" y="109"/>
                    </a:lnTo>
                    <a:lnTo>
                      <a:pt x="0" y="0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87">
                <a:extLst>
                  <a:ext uri="{FF2B5EF4-FFF2-40B4-BE49-F238E27FC236}">
                    <a16:creationId xmlns:a16="http://schemas.microsoft.com/office/drawing/2014/main" id="{252992A7-F999-4528-818E-16ADD6867E9D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397727" y="2460966"/>
                <a:ext cx="289317" cy="521406"/>
              </a:xfrm>
              <a:custGeom>
                <a:avLst/>
                <a:gdLst>
                  <a:gd name="T0" fmla="*/ 0 w 182"/>
                  <a:gd name="T1" fmla="*/ 109 h 328"/>
                  <a:gd name="T2" fmla="*/ 0 w 182"/>
                  <a:gd name="T3" fmla="*/ 328 h 328"/>
                  <a:gd name="T4" fmla="*/ 182 w 182"/>
                  <a:gd name="T5" fmla="*/ 219 h 328"/>
                  <a:gd name="T6" fmla="*/ 182 w 182"/>
                  <a:gd name="T7" fmla="*/ 0 h 328"/>
                  <a:gd name="T8" fmla="*/ 0 w 182"/>
                  <a:gd name="T9" fmla="*/ 109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2" h="328">
                    <a:moveTo>
                      <a:pt x="0" y="109"/>
                    </a:moveTo>
                    <a:lnTo>
                      <a:pt x="0" y="328"/>
                    </a:lnTo>
                    <a:lnTo>
                      <a:pt x="182" y="219"/>
                    </a:lnTo>
                    <a:lnTo>
                      <a:pt x="182" y="0"/>
                    </a:lnTo>
                    <a:lnTo>
                      <a:pt x="0" y="109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88">
                <a:extLst>
                  <a:ext uri="{FF2B5EF4-FFF2-40B4-BE49-F238E27FC236}">
                    <a16:creationId xmlns:a16="http://schemas.microsoft.com/office/drawing/2014/main" id="{A8B1E6E2-2BA0-447A-868F-F36ACC6B19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03641" y="2274977"/>
                <a:ext cx="562737" cy="337006"/>
              </a:xfrm>
              <a:custGeom>
                <a:avLst/>
                <a:gdLst>
                  <a:gd name="T0" fmla="*/ 0 w 354"/>
                  <a:gd name="T1" fmla="*/ 106 h 212"/>
                  <a:gd name="T2" fmla="*/ 177 w 354"/>
                  <a:gd name="T3" fmla="*/ 212 h 212"/>
                  <a:gd name="T4" fmla="*/ 354 w 354"/>
                  <a:gd name="T5" fmla="*/ 106 h 212"/>
                  <a:gd name="T6" fmla="*/ 177 w 354"/>
                  <a:gd name="T7" fmla="*/ 0 h 212"/>
                  <a:gd name="T8" fmla="*/ 0 w 354"/>
                  <a:gd name="T9" fmla="*/ 106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4" h="212">
                    <a:moveTo>
                      <a:pt x="0" y="106"/>
                    </a:moveTo>
                    <a:lnTo>
                      <a:pt x="177" y="212"/>
                    </a:lnTo>
                    <a:lnTo>
                      <a:pt x="354" y="106"/>
                    </a:lnTo>
                    <a:lnTo>
                      <a:pt x="177" y="0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AAB41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17" name="Gerade Verbindung mit Pfeil 33">
              <a:extLst>
                <a:ext uri="{FF2B5EF4-FFF2-40B4-BE49-F238E27FC236}">
                  <a16:creationId xmlns:a16="http://schemas.microsoft.com/office/drawing/2014/main" id="{E5D2B1B1-6818-450A-9FA4-EA1AFABCED5D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860044" y="3643627"/>
              <a:ext cx="236234" cy="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8" name="Gerade Verbindung mit Pfeil 33">
              <a:extLst>
                <a:ext uri="{FF2B5EF4-FFF2-40B4-BE49-F238E27FC236}">
                  <a16:creationId xmlns:a16="http://schemas.microsoft.com/office/drawing/2014/main" id="{5B6B2B65-CC5E-4B8A-A953-299F7493E4EB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867664" y="3320264"/>
              <a:ext cx="222736" cy="13371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19" name="Gerade Verbindung mit Pfeil 33">
              <a:extLst>
                <a:ext uri="{FF2B5EF4-FFF2-40B4-BE49-F238E27FC236}">
                  <a16:creationId xmlns:a16="http://schemas.microsoft.com/office/drawing/2014/main" id="{ADCFC5D6-FC43-401E-99E2-DF9BEC2A9529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>
              <a:off x="5718633" y="2915485"/>
              <a:ext cx="0" cy="181750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20" name="Gerade Verbindung mit Pfeil 33">
              <a:extLst>
                <a:ext uri="{FF2B5EF4-FFF2-40B4-BE49-F238E27FC236}">
                  <a16:creationId xmlns:a16="http://schemas.microsoft.com/office/drawing/2014/main" id="{E38486AB-9BEA-4A07-9F76-93FF2EB778D1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V="1">
              <a:off x="5200799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  <p:cxnSp>
          <p:nvCxnSpPr>
            <p:cNvPr id="21" name="Gerade Verbindung mit Pfeil 33">
              <a:extLst>
                <a:ext uri="{FF2B5EF4-FFF2-40B4-BE49-F238E27FC236}">
                  <a16:creationId xmlns:a16="http://schemas.microsoft.com/office/drawing/2014/main" id="{90796CE8-E390-4493-91A1-F6C5A63B55A0}"/>
                </a:ext>
              </a:extLst>
            </p:cNvPr>
            <p:cNvCxnSpPr>
              <a:cxnSpLocks noChangeShapeType="1"/>
            </p:cNvCxnSpPr>
            <p:nvPr/>
          </p:nvCxnSpPr>
          <p:spPr bwMode="gray">
            <a:xfrm flipH="1" flipV="1">
              <a:off x="5992254" y="2967458"/>
              <a:ext cx="260469" cy="259553"/>
            </a:xfrm>
            <a:prstGeom prst="straightConnector1">
              <a:avLst/>
            </a:prstGeom>
            <a:noFill/>
            <a:ln w="19050" algn="ctr">
              <a:solidFill>
                <a:srgbClr val="505A64"/>
              </a:solidFill>
              <a:round/>
              <a:headEnd type="triangle" w="med" len="sm"/>
              <a:tailEnd type="triangle" w="med" len="sm"/>
            </a:ln>
          </p:spPr>
        </p:cxnSp>
      </p:grpSp>
      <p:grpSp>
        <p:nvGrpSpPr>
          <p:cNvPr id="40" name="Gruppieren 39">
            <a:extLst>
              <a:ext uri="{FF2B5EF4-FFF2-40B4-BE49-F238E27FC236}">
                <a16:creationId xmlns:a16="http://schemas.microsoft.com/office/drawing/2014/main" id="{7742B849-806C-47DF-AC80-B92D31197C6F}"/>
              </a:ext>
            </a:extLst>
          </p:cNvPr>
          <p:cNvGrpSpPr/>
          <p:nvPr/>
        </p:nvGrpSpPr>
        <p:grpSpPr>
          <a:xfrm>
            <a:off x="611301" y="1652809"/>
            <a:ext cx="4491305" cy="4195084"/>
            <a:chOff x="611301" y="1652809"/>
            <a:chExt cx="4491305" cy="4195084"/>
          </a:xfrm>
        </p:grpSpPr>
        <p:sp>
          <p:nvSpPr>
            <p:cNvPr id="41" name="AutoShape 40">
              <a:extLst>
                <a:ext uri="{FF2B5EF4-FFF2-40B4-BE49-F238E27FC236}">
                  <a16:creationId xmlns:a16="http://schemas.microsoft.com/office/drawing/2014/main" id="{D0C10D72-0FEF-4ACE-927A-0129639EC5B0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gray">
            <a:xfrm>
              <a:off x="3480945" y="2934412"/>
              <a:ext cx="718218" cy="3620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2" name="Gruppieren 260">
              <a:extLst>
                <a:ext uri="{FF2B5EF4-FFF2-40B4-BE49-F238E27FC236}">
                  <a16:creationId xmlns:a16="http://schemas.microsoft.com/office/drawing/2014/main" id="{5616DA2C-3258-43CB-9A41-D7902A4F52EE}"/>
                </a:ext>
              </a:extLst>
            </p:cNvPr>
            <p:cNvGrpSpPr/>
            <p:nvPr>
              <p:custDataLst>
                <p:tags r:id="rId4"/>
              </p:custDataLst>
            </p:nvPr>
          </p:nvGrpSpPr>
          <p:grpSpPr bwMode="gray">
            <a:xfrm flipH="1">
              <a:off x="627063" y="2150337"/>
              <a:ext cx="4425233" cy="3263454"/>
              <a:chOff x="7290517" y="2150337"/>
              <a:chExt cx="4425233" cy="3263454"/>
            </a:xfrm>
          </p:grpSpPr>
          <p:grpSp>
            <p:nvGrpSpPr>
              <p:cNvPr id="59" name="Gruppieren 261">
                <a:extLst>
                  <a:ext uri="{FF2B5EF4-FFF2-40B4-BE49-F238E27FC236}">
                    <a16:creationId xmlns:a16="http://schemas.microsoft.com/office/drawing/2014/main" id="{97112EB6-0F2F-4E48-ACEF-5C94D4F04FEE}"/>
                  </a:ext>
                </a:extLst>
              </p:cNvPr>
              <p:cNvGrpSpPr/>
              <p:nvPr>
                <p:custDataLst>
                  <p:tags r:id="rId6"/>
                </p:custDataLst>
              </p:nvPr>
            </p:nvGrpSpPr>
            <p:grpSpPr bwMode="gray">
              <a:xfrm>
                <a:off x="8243969" y="3103395"/>
                <a:ext cx="3471781" cy="1351766"/>
                <a:chOff x="8243969" y="3103395"/>
                <a:chExt cx="3528343" cy="1351766"/>
              </a:xfrm>
            </p:grpSpPr>
            <p:cxnSp>
              <p:nvCxnSpPr>
                <p:cNvPr id="63" name="Gerade Verbindung 265">
                  <a:extLst>
                    <a:ext uri="{FF2B5EF4-FFF2-40B4-BE49-F238E27FC236}">
                      <a16:creationId xmlns:a16="http://schemas.microsoft.com/office/drawing/2014/main" id="{AEEE5C0D-1729-4019-8755-7B0FB9D01BD9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3103395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4" name="Gerade Verbindung 266">
                  <a:extLst>
                    <a:ext uri="{FF2B5EF4-FFF2-40B4-BE49-F238E27FC236}">
                      <a16:creationId xmlns:a16="http://schemas.microsoft.com/office/drawing/2014/main" id="{98CDB665-7616-4E3B-8F8C-69FF0A8580C3}"/>
                    </a:ext>
                  </a:extLst>
                </p:cNvPr>
                <p:cNvCxnSpPr/>
                <p:nvPr/>
              </p:nvCxnSpPr>
              <p:spPr bwMode="gray">
                <a:xfrm flipH="1">
                  <a:off x="8243969" y="4455161"/>
                  <a:ext cx="3528343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0" name="Gruppieren 262">
                <a:extLst>
                  <a:ext uri="{FF2B5EF4-FFF2-40B4-BE49-F238E27FC236}">
                    <a16:creationId xmlns:a16="http://schemas.microsoft.com/office/drawing/2014/main" id="{9B28470E-B46A-4E64-9A18-1FB00A33F361}"/>
                  </a:ext>
                </a:extLst>
              </p:cNvPr>
              <p:cNvGrpSpPr/>
              <p:nvPr>
                <p:custDataLst>
                  <p:tags r:id="rId7"/>
                </p:custDataLst>
              </p:nvPr>
            </p:nvGrpSpPr>
            <p:grpSpPr bwMode="gray">
              <a:xfrm>
                <a:off x="7290517" y="2150337"/>
                <a:ext cx="4425233" cy="3263454"/>
                <a:chOff x="7225157" y="2150337"/>
                <a:chExt cx="4490594" cy="3263454"/>
              </a:xfrm>
            </p:grpSpPr>
            <p:cxnSp>
              <p:nvCxnSpPr>
                <p:cNvPr id="61" name="Gerade Verbindung 263">
                  <a:extLst>
                    <a:ext uri="{FF2B5EF4-FFF2-40B4-BE49-F238E27FC236}">
                      <a16:creationId xmlns:a16="http://schemas.microsoft.com/office/drawing/2014/main" id="{BF6E6476-BFD6-474D-85B5-DBB9D7DD12A3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2150337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2" name="Gerade Verbindung 264">
                  <a:extLst>
                    <a:ext uri="{FF2B5EF4-FFF2-40B4-BE49-F238E27FC236}">
                      <a16:creationId xmlns:a16="http://schemas.microsoft.com/office/drawing/2014/main" id="{EBA000B1-49E5-4547-A6EB-F67936EA2339}"/>
                    </a:ext>
                  </a:extLst>
                </p:cNvPr>
                <p:cNvCxnSpPr/>
                <p:nvPr/>
              </p:nvCxnSpPr>
              <p:spPr bwMode="gray">
                <a:xfrm flipH="1">
                  <a:off x="7225157" y="5413791"/>
                  <a:ext cx="4490594" cy="0"/>
                </a:xfrm>
                <a:prstGeom prst="line">
                  <a:avLst/>
                </a:prstGeom>
                <a:solidFill>
                  <a:schemeClr val="tx2"/>
                </a:solidFill>
                <a:ln w="19050" cap="flat" cmpd="sng" algn="ctr">
                  <a:solidFill>
                    <a:srgbClr val="505A64"/>
                  </a:solidFill>
                  <a:prstDash val="sysDot"/>
                  <a:round/>
                  <a:headEnd type="none" w="med" len="med"/>
                  <a:tailEnd type="none" w="med" len="med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sp>
          <p:nvSpPr>
            <p:cNvPr id="43" name="Rechteck 78">
              <a:extLst>
                <a:ext uri="{FF2B5EF4-FFF2-40B4-BE49-F238E27FC236}">
                  <a16:creationId xmlns:a16="http://schemas.microsoft.com/office/drawing/2014/main" id="{F8ABA996-10CF-4AC2-89E5-562C95F9C2CC}"/>
                </a:ext>
              </a:extLst>
            </p:cNvPr>
            <p:cNvSpPr>
              <a:spLocks/>
            </p:cNvSpPr>
            <p:nvPr/>
          </p:nvSpPr>
          <p:spPr bwMode="gray">
            <a:xfrm>
              <a:off x="611301" y="506374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Power Management</a:t>
              </a:r>
            </a:p>
          </p:txBody>
        </p:sp>
        <p:sp>
          <p:nvSpPr>
            <p:cNvPr id="44" name="Freihandform 6">
              <a:extLst>
                <a:ext uri="{FF2B5EF4-FFF2-40B4-BE49-F238E27FC236}">
                  <a16:creationId xmlns:a16="http://schemas.microsoft.com/office/drawing/2014/main" id="{3E3A611D-CB14-4572-87FE-DB3ACBD41084}"/>
                </a:ext>
              </a:extLst>
            </p:cNvPr>
            <p:cNvSpPr/>
            <p:nvPr/>
          </p:nvSpPr>
          <p:spPr bwMode="gray">
            <a:xfrm rot="20239983">
              <a:off x="4202357" y="49476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45" name="Freihandform 26">
              <a:extLst>
                <a:ext uri="{FF2B5EF4-FFF2-40B4-BE49-F238E27FC236}">
                  <a16:creationId xmlns:a16="http://schemas.microsoft.com/office/drawing/2014/main" id="{D12B4764-47AF-4FD7-B391-91AD22F9D42B}"/>
                </a:ext>
              </a:extLst>
            </p:cNvPr>
            <p:cNvSpPr/>
            <p:nvPr/>
          </p:nvSpPr>
          <p:spPr bwMode="gray">
            <a:xfrm rot="20239983">
              <a:off x="3221707" y="3994577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46" name="Freeform 2821">
              <a:extLst>
                <a:ext uri="{FF2B5EF4-FFF2-40B4-BE49-F238E27FC236}">
                  <a16:creationId xmlns:a16="http://schemas.microsoft.com/office/drawing/2014/main" id="{7E4A1086-1B78-47D6-8950-6D03B9E65B9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483434" y="4152989"/>
              <a:ext cx="376793" cy="564404"/>
            </a:xfrm>
            <a:custGeom>
              <a:avLst/>
              <a:gdLst>
                <a:gd name="T0" fmla="*/ 341 w 534"/>
                <a:gd name="T1" fmla="*/ 627 h 800"/>
                <a:gd name="T2" fmla="*/ 341 w 534"/>
                <a:gd name="T3" fmla="*/ 563 h 800"/>
                <a:gd name="T4" fmla="*/ 306 w 534"/>
                <a:gd name="T5" fmla="*/ 528 h 800"/>
                <a:gd name="T6" fmla="*/ 256 w 534"/>
                <a:gd name="T7" fmla="*/ 528 h 800"/>
                <a:gd name="T8" fmla="*/ 256 w 534"/>
                <a:gd name="T9" fmla="*/ 450 h 800"/>
                <a:gd name="T10" fmla="*/ 380 w 534"/>
                <a:gd name="T11" fmla="*/ 450 h 800"/>
                <a:gd name="T12" fmla="*/ 380 w 534"/>
                <a:gd name="T13" fmla="*/ 627 h 800"/>
                <a:gd name="T14" fmla="*/ 341 w 534"/>
                <a:gd name="T15" fmla="*/ 627 h 800"/>
                <a:gd name="T16" fmla="*/ 471 w 534"/>
                <a:gd name="T17" fmla="*/ 0 h 800"/>
                <a:gd name="T18" fmla="*/ 471 w 534"/>
                <a:gd name="T19" fmla="*/ 324 h 800"/>
                <a:gd name="T20" fmla="*/ 314 w 534"/>
                <a:gd name="T21" fmla="*/ 230 h 800"/>
                <a:gd name="T22" fmla="*/ 314 w 534"/>
                <a:gd name="T23" fmla="*/ 324 h 800"/>
                <a:gd name="T24" fmla="*/ 157 w 534"/>
                <a:gd name="T25" fmla="*/ 230 h 800"/>
                <a:gd name="T26" fmla="*/ 157 w 534"/>
                <a:gd name="T27" fmla="*/ 324 h 800"/>
                <a:gd name="T28" fmla="*/ 0 w 534"/>
                <a:gd name="T29" fmla="*/ 230 h 800"/>
                <a:gd name="T30" fmla="*/ 0 w 534"/>
                <a:gd name="T31" fmla="*/ 627 h 800"/>
                <a:gd name="T32" fmla="*/ 328 w 534"/>
                <a:gd name="T33" fmla="*/ 627 h 800"/>
                <a:gd name="T34" fmla="*/ 328 w 534"/>
                <a:gd name="T35" fmla="*/ 563 h 800"/>
                <a:gd name="T36" fmla="*/ 306 w 534"/>
                <a:gd name="T37" fmla="*/ 541 h 800"/>
                <a:gd name="T38" fmla="*/ 151 w 534"/>
                <a:gd name="T39" fmla="*/ 541 h 800"/>
                <a:gd name="T40" fmla="*/ 151 w 534"/>
                <a:gd name="T41" fmla="*/ 552 h 800"/>
                <a:gd name="T42" fmla="*/ 116 w 534"/>
                <a:gd name="T43" fmla="*/ 552 h 800"/>
                <a:gd name="T44" fmla="*/ 116 w 534"/>
                <a:gd name="T45" fmla="*/ 517 h 800"/>
                <a:gd name="T46" fmla="*/ 151 w 534"/>
                <a:gd name="T47" fmla="*/ 517 h 800"/>
                <a:gd name="T48" fmla="*/ 151 w 534"/>
                <a:gd name="T49" fmla="*/ 528 h 800"/>
                <a:gd name="T50" fmla="*/ 249 w 534"/>
                <a:gd name="T51" fmla="*/ 528 h 800"/>
                <a:gd name="T52" fmla="*/ 249 w 534"/>
                <a:gd name="T53" fmla="*/ 443 h 800"/>
                <a:gd name="T54" fmla="*/ 380 w 534"/>
                <a:gd name="T55" fmla="*/ 443 h 800"/>
                <a:gd name="T56" fmla="*/ 380 w 534"/>
                <a:gd name="T57" fmla="*/ 418 h 800"/>
                <a:gd name="T58" fmla="*/ 409 w 534"/>
                <a:gd name="T59" fmla="*/ 389 h 800"/>
                <a:gd name="T60" fmla="*/ 433 w 534"/>
                <a:gd name="T61" fmla="*/ 389 h 800"/>
                <a:gd name="T62" fmla="*/ 433 w 534"/>
                <a:gd name="T63" fmla="*/ 378 h 800"/>
                <a:gd name="T64" fmla="*/ 468 w 534"/>
                <a:gd name="T65" fmla="*/ 378 h 800"/>
                <a:gd name="T66" fmla="*/ 468 w 534"/>
                <a:gd name="T67" fmla="*/ 413 h 800"/>
                <a:gd name="T68" fmla="*/ 433 w 534"/>
                <a:gd name="T69" fmla="*/ 413 h 800"/>
                <a:gd name="T70" fmla="*/ 433 w 534"/>
                <a:gd name="T71" fmla="*/ 402 h 800"/>
                <a:gd name="T72" fmla="*/ 409 w 534"/>
                <a:gd name="T73" fmla="*/ 402 h 800"/>
                <a:gd name="T74" fmla="*/ 393 w 534"/>
                <a:gd name="T75" fmla="*/ 418 h 800"/>
                <a:gd name="T76" fmla="*/ 393 w 534"/>
                <a:gd name="T77" fmla="*/ 627 h 800"/>
                <a:gd name="T78" fmla="*/ 534 w 534"/>
                <a:gd name="T79" fmla="*/ 627 h 800"/>
                <a:gd name="T80" fmla="*/ 534 w 534"/>
                <a:gd name="T81" fmla="*/ 0 h 800"/>
                <a:gd name="T82" fmla="*/ 471 w 534"/>
                <a:gd name="T83" fmla="*/ 0 h 800"/>
                <a:gd name="T84" fmla="*/ 341 w 534"/>
                <a:gd name="T85" fmla="*/ 627 h 800"/>
                <a:gd name="T86" fmla="*/ 328 w 534"/>
                <a:gd name="T87" fmla="*/ 627 h 800"/>
                <a:gd name="T88" fmla="*/ 328 w 534"/>
                <a:gd name="T89" fmla="*/ 726 h 800"/>
                <a:gd name="T90" fmla="*/ 0 w 534"/>
                <a:gd name="T91" fmla="*/ 726 h 800"/>
                <a:gd name="T92" fmla="*/ 0 w 534"/>
                <a:gd name="T93" fmla="*/ 739 h 800"/>
                <a:gd name="T94" fmla="*/ 341 w 534"/>
                <a:gd name="T95" fmla="*/ 739 h 800"/>
                <a:gd name="T96" fmla="*/ 341 w 534"/>
                <a:gd name="T97" fmla="*/ 627 h 800"/>
                <a:gd name="T98" fmla="*/ 380 w 534"/>
                <a:gd name="T99" fmla="*/ 627 h 800"/>
                <a:gd name="T100" fmla="*/ 380 w 534"/>
                <a:gd name="T101" fmla="*/ 751 h 800"/>
                <a:gd name="T102" fmla="*/ 342 w 534"/>
                <a:gd name="T103" fmla="*/ 787 h 800"/>
                <a:gd name="T104" fmla="*/ 0 w 534"/>
                <a:gd name="T105" fmla="*/ 787 h 800"/>
                <a:gd name="T106" fmla="*/ 0 w 534"/>
                <a:gd name="T107" fmla="*/ 800 h 800"/>
                <a:gd name="T108" fmla="*/ 342 w 534"/>
                <a:gd name="T109" fmla="*/ 800 h 800"/>
                <a:gd name="T110" fmla="*/ 393 w 534"/>
                <a:gd name="T111" fmla="*/ 751 h 800"/>
                <a:gd name="T112" fmla="*/ 393 w 534"/>
                <a:gd name="T113" fmla="*/ 627 h 800"/>
                <a:gd name="T114" fmla="*/ 380 w 534"/>
                <a:gd name="T115" fmla="*/ 627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4" h="800">
                  <a:moveTo>
                    <a:pt x="341" y="627"/>
                  </a:moveTo>
                  <a:cubicBezTo>
                    <a:pt x="341" y="563"/>
                    <a:pt x="341" y="563"/>
                    <a:pt x="341" y="563"/>
                  </a:cubicBezTo>
                  <a:cubicBezTo>
                    <a:pt x="341" y="544"/>
                    <a:pt x="325" y="528"/>
                    <a:pt x="306" y="528"/>
                  </a:cubicBezTo>
                  <a:cubicBezTo>
                    <a:pt x="256" y="528"/>
                    <a:pt x="256" y="528"/>
                    <a:pt x="256" y="528"/>
                  </a:cubicBezTo>
                  <a:cubicBezTo>
                    <a:pt x="256" y="450"/>
                    <a:pt x="256" y="450"/>
                    <a:pt x="256" y="450"/>
                  </a:cubicBezTo>
                  <a:cubicBezTo>
                    <a:pt x="380" y="450"/>
                    <a:pt x="380" y="450"/>
                    <a:pt x="380" y="450"/>
                  </a:cubicBezTo>
                  <a:cubicBezTo>
                    <a:pt x="380" y="627"/>
                    <a:pt x="380" y="627"/>
                    <a:pt x="380" y="627"/>
                  </a:cubicBezTo>
                  <a:lnTo>
                    <a:pt x="341" y="627"/>
                  </a:lnTo>
                  <a:close/>
                  <a:moveTo>
                    <a:pt x="471" y="0"/>
                  </a:moveTo>
                  <a:cubicBezTo>
                    <a:pt x="471" y="324"/>
                    <a:pt x="471" y="324"/>
                    <a:pt x="471" y="324"/>
                  </a:cubicBezTo>
                  <a:cubicBezTo>
                    <a:pt x="314" y="230"/>
                    <a:pt x="314" y="230"/>
                    <a:pt x="314" y="230"/>
                  </a:cubicBezTo>
                  <a:cubicBezTo>
                    <a:pt x="314" y="324"/>
                    <a:pt x="314" y="324"/>
                    <a:pt x="314" y="324"/>
                  </a:cubicBezTo>
                  <a:cubicBezTo>
                    <a:pt x="157" y="230"/>
                    <a:pt x="157" y="230"/>
                    <a:pt x="157" y="230"/>
                  </a:cubicBezTo>
                  <a:cubicBezTo>
                    <a:pt x="157" y="324"/>
                    <a:pt x="157" y="324"/>
                    <a:pt x="157" y="324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0" y="627"/>
                    <a:pt x="0" y="627"/>
                    <a:pt x="0" y="627"/>
                  </a:cubicBezTo>
                  <a:cubicBezTo>
                    <a:pt x="328" y="627"/>
                    <a:pt x="328" y="627"/>
                    <a:pt x="328" y="627"/>
                  </a:cubicBezTo>
                  <a:cubicBezTo>
                    <a:pt x="328" y="563"/>
                    <a:pt x="328" y="563"/>
                    <a:pt x="328" y="563"/>
                  </a:cubicBezTo>
                  <a:cubicBezTo>
                    <a:pt x="328" y="551"/>
                    <a:pt x="318" y="541"/>
                    <a:pt x="306" y="541"/>
                  </a:cubicBezTo>
                  <a:cubicBezTo>
                    <a:pt x="151" y="541"/>
                    <a:pt x="151" y="541"/>
                    <a:pt x="151" y="541"/>
                  </a:cubicBezTo>
                  <a:cubicBezTo>
                    <a:pt x="151" y="552"/>
                    <a:pt x="151" y="552"/>
                    <a:pt x="151" y="552"/>
                  </a:cubicBezTo>
                  <a:cubicBezTo>
                    <a:pt x="116" y="552"/>
                    <a:pt x="116" y="552"/>
                    <a:pt x="116" y="552"/>
                  </a:cubicBezTo>
                  <a:cubicBezTo>
                    <a:pt x="116" y="517"/>
                    <a:pt x="116" y="517"/>
                    <a:pt x="116" y="517"/>
                  </a:cubicBezTo>
                  <a:cubicBezTo>
                    <a:pt x="151" y="517"/>
                    <a:pt x="151" y="517"/>
                    <a:pt x="151" y="517"/>
                  </a:cubicBezTo>
                  <a:cubicBezTo>
                    <a:pt x="151" y="528"/>
                    <a:pt x="151" y="528"/>
                    <a:pt x="151" y="528"/>
                  </a:cubicBezTo>
                  <a:cubicBezTo>
                    <a:pt x="249" y="528"/>
                    <a:pt x="249" y="528"/>
                    <a:pt x="249" y="528"/>
                  </a:cubicBezTo>
                  <a:cubicBezTo>
                    <a:pt x="249" y="443"/>
                    <a:pt x="249" y="443"/>
                    <a:pt x="249" y="443"/>
                  </a:cubicBezTo>
                  <a:cubicBezTo>
                    <a:pt x="380" y="443"/>
                    <a:pt x="380" y="443"/>
                    <a:pt x="380" y="443"/>
                  </a:cubicBezTo>
                  <a:cubicBezTo>
                    <a:pt x="380" y="418"/>
                    <a:pt x="380" y="418"/>
                    <a:pt x="380" y="418"/>
                  </a:cubicBezTo>
                  <a:cubicBezTo>
                    <a:pt x="380" y="402"/>
                    <a:pt x="393" y="389"/>
                    <a:pt x="409" y="389"/>
                  </a:cubicBezTo>
                  <a:cubicBezTo>
                    <a:pt x="433" y="389"/>
                    <a:pt x="433" y="389"/>
                    <a:pt x="433" y="389"/>
                  </a:cubicBezTo>
                  <a:cubicBezTo>
                    <a:pt x="433" y="378"/>
                    <a:pt x="433" y="378"/>
                    <a:pt x="433" y="378"/>
                  </a:cubicBezTo>
                  <a:cubicBezTo>
                    <a:pt x="468" y="378"/>
                    <a:pt x="468" y="378"/>
                    <a:pt x="468" y="378"/>
                  </a:cubicBezTo>
                  <a:cubicBezTo>
                    <a:pt x="468" y="413"/>
                    <a:pt x="468" y="413"/>
                    <a:pt x="468" y="413"/>
                  </a:cubicBezTo>
                  <a:cubicBezTo>
                    <a:pt x="433" y="413"/>
                    <a:pt x="433" y="413"/>
                    <a:pt x="433" y="413"/>
                  </a:cubicBezTo>
                  <a:cubicBezTo>
                    <a:pt x="433" y="402"/>
                    <a:pt x="433" y="402"/>
                    <a:pt x="433" y="402"/>
                  </a:cubicBezTo>
                  <a:cubicBezTo>
                    <a:pt x="409" y="402"/>
                    <a:pt x="409" y="402"/>
                    <a:pt x="409" y="402"/>
                  </a:cubicBezTo>
                  <a:cubicBezTo>
                    <a:pt x="400" y="402"/>
                    <a:pt x="393" y="409"/>
                    <a:pt x="393" y="418"/>
                  </a:cubicBezTo>
                  <a:cubicBezTo>
                    <a:pt x="393" y="627"/>
                    <a:pt x="393" y="627"/>
                    <a:pt x="393" y="627"/>
                  </a:cubicBezTo>
                  <a:cubicBezTo>
                    <a:pt x="534" y="627"/>
                    <a:pt x="534" y="627"/>
                    <a:pt x="534" y="627"/>
                  </a:cubicBezTo>
                  <a:cubicBezTo>
                    <a:pt x="534" y="0"/>
                    <a:pt x="534" y="0"/>
                    <a:pt x="534" y="0"/>
                  </a:cubicBezTo>
                  <a:lnTo>
                    <a:pt x="471" y="0"/>
                  </a:lnTo>
                  <a:close/>
                  <a:moveTo>
                    <a:pt x="341" y="627"/>
                  </a:moveTo>
                  <a:cubicBezTo>
                    <a:pt x="328" y="627"/>
                    <a:pt x="328" y="627"/>
                    <a:pt x="328" y="627"/>
                  </a:cubicBezTo>
                  <a:cubicBezTo>
                    <a:pt x="328" y="726"/>
                    <a:pt x="328" y="726"/>
                    <a:pt x="328" y="726"/>
                  </a:cubicBezTo>
                  <a:cubicBezTo>
                    <a:pt x="0" y="726"/>
                    <a:pt x="0" y="726"/>
                    <a:pt x="0" y="726"/>
                  </a:cubicBezTo>
                  <a:cubicBezTo>
                    <a:pt x="0" y="739"/>
                    <a:pt x="0" y="739"/>
                    <a:pt x="0" y="739"/>
                  </a:cubicBezTo>
                  <a:cubicBezTo>
                    <a:pt x="341" y="739"/>
                    <a:pt x="341" y="739"/>
                    <a:pt x="341" y="739"/>
                  </a:cubicBezTo>
                  <a:lnTo>
                    <a:pt x="341" y="627"/>
                  </a:lnTo>
                  <a:close/>
                  <a:moveTo>
                    <a:pt x="380" y="627"/>
                  </a:moveTo>
                  <a:cubicBezTo>
                    <a:pt x="380" y="751"/>
                    <a:pt x="380" y="751"/>
                    <a:pt x="380" y="751"/>
                  </a:cubicBezTo>
                  <a:cubicBezTo>
                    <a:pt x="380" y="771"/>
                    <a:pt x="363" y="787"/>
                    <a:pt x="342" y="787"/>
                  </a:cubicBezTo>
                  <a:cubicBezTo>
                    <a:pt x="0" y="787"/>
                    <a:pt x="0" y="787"/>
                    <a:pt x="0" y="787"/>
                  </a:cubicBezTo>
                  <a:cubicBezTo>
                    <a:pt x="0" y="800"/>
                    <a:pt x="0" y="800"/>
                    <a:pt x="0" y="800"/>
                  </a:cubicBezTo>
                  <a:cubicBezTo>
                    <a:pt x="342" y="800"/>
                    <a:pt x="342" y="800"/>
                    <a:pt x="342" y="800"/>
                  </a:cubicBezTo>
                  <a:cubicBezTo>
                    <a:pt x="370" y="800"/>
                    <a:pt x="393" y="779"/>
                    <a:pt x="393" y="751"/>
                  </a:cubicBezTo>
                  <a:cubicBezTo>
                    <a:pt x="393" y="627"/>
                    <a:pt x="393" y="627"/>
                    <a:pt x="393" y="627"/>
                  </a:cubicBezTo>
                  <a:lnTo>
                    <a:pt x="380" y="62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7" name="Gruppieren 156">
              <a:extLst>
                <a:ext uri="{FF2B5EF4-FFF2-40B4-BE49-F238E27FC236}">
                  <a16:creationId xmlns:a16="http://schemas.microsoft.com/office/drawing/2014/main" id="{2B641AA3-CF8B-40F1-98AF-A6D3BD1965DC}"/>
                </a:ext>
              </a:extLst>
            </p:cNvPr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gray">
            <a:xfrm>
              <a:off x="4259178" y="5066898"/>
              <a:ext cx="752286" cy="701486"/>
              <a:chOff x="4881328" y="3106801"/>
              <a:chExt cx="347462" cy="323999"/>
            </a:xfrm>
            <a:solidFill>
              <a:srgbClr val="505A64"/>
            </a:solidFill>
          </p:grpSpPr>
          <p:sp>
            <p:nvSpPr>
              <p:cNvPr id="55" name="Freeform 10">
                <a:extLst>
                  <a:ext uri="{FF2B5EF4-FFF2-40B4-BE49-F238E27FC236}">
                    <a16:creationId xmlns:a16="http://schemas.microsoft.com/office/drawing/2014/main" id="{A74D1356-42CE-478E-BD26-4F5D1FA16CE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027118" y="3191158"/>
                <a:ext cx="68060" cy="141671"/>
              </a:xfrm>
              <a:custGeom>
                <a:avLst/>
                <a:gdLst>
                  <a:gd name="T0" fmla="*/ 380 w 380"/>
                  <a:gd name="T1" fmla="*/ 441 h 791"/>
                  <a:gd name="T2" fmla="*/ 168 w 380"/>
                  <a:gd name="T3" fmla="*/ 308 h 791"/>
                  <a:gd name="T4" fmla="*/ 211 w 380"/>
                  <a:gd name="T5" fmla="*/ 0 h 791"/>
                  <a:gd name="T6" fmla="*/ 0 w 380"/>
                  <a:gd name="T7" fmla="*/ 355 h 791"/>
                  <a:gd name="T8" fmla="*/ 211 w 380"/>
                  <a:gd name="T9" fmla="*/ 484 h 791"/>
                  <a:gd name="T10" fmla="*/ 168 w 380"/>
                  <a:gd name="T11" fmla="*/ 791 h 791"/>
                  <a:gd name="T12" fmla="*/ 380 w 380"/>
                  <a:gd name="T13" fmla="*/ 441 h 7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80" h="791">
                    <a:moveTo>
                      <a:pt x="380" y="441"/>
                    </a:moveTo>
                    <a:lnTo>
                      <a:pt x="168" y="308"/>
                    </a:lnTo>
                    <a:lnTo>
                      <a:pt x="211" y="0"/>
                    </a:lnTo>
                    <a:lnTo>
                      <a:pt x="0" y="355"/>
                    </a:lnTo>
                    <a:lnTo>
                      <a:pt x="211" y="484"/>
                    </a:lnTo>
                    <a:lnTo>
                      <a:pt x="168" y="791"/>
                    </a:lnTo>
                    <a:lnTo>
                      <a:pt x="380" y="4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6" name="Freeform 11">
                <a:extLst>
                  <a:ext uri="{FF2B5EF4-FFF2-40B4-BE49-F238E27FC236}">
                    <a16:creationId xmlns:a16="http://schemas.microsoft.com/office/drawing/2014/main" id="{C0D10DC0-3440-4508-8B11-EF7C8C9F4C8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990758" y="3106801"/>
                <a:ext cx="176776" cy="131463"/>
              </a:xfrm>
              <a:custGeom>
                <a:avLst/>
                <a:gdLst>
                  <a:gd name="T0" fmla="*/ 433 w 987"/>
                  <a:gd name="T1" fmla="*/ 369 h 734"/>
                  <a:gd name="T2" fmla="*/ 553 w 987"/>
                  <a:gd name="T3" fmla="*/ 396 h 734"/>
                  <a:gd name="T4" fmla="*/ 660 w 987"/>
                  <a:gd name="T5" fmla="*/ 449 h 734"/>
                  <a:gd name="T6" fmla="*/ 749 w 987"/>
                  <a:gd name="T7" fmla="*/ 527 h 734"/>
                  <a:gd name="T8" fmla="*/ 817 w 987"/>
                  <a:gd name="T9" fmla="*/ 623 h 734"/>
                  <a:gd name="T10" fmla="*/ 861 w 987"/>
                  <a:gd name="T11" fmla="*/ 734 h 734"/>
                  <a:gd name="T12" fmla="*/ 987 w 987"/>
                  <a:gd name="T13" fmla="*/ 705 h 734"/>
                  <a:gd name="T14" fmla="*/ 956 w 987"/>
                  <a:gd name="T15" fmla="*/ 610 h 734"/>
                  <a:gd name="T16" fmla="*/ 910 w 987"/>
                  <a:gd name="T17" fmla="*/ 523 h 734"/>
                  <a:gd name="T18" fmla="*/ 850 w 987"/>
                  <a:gd name="T19" fmla="*/ 445 h 734"/>
                  <a:gd name="T20" fmla="*/ 781 w 987"/>
                  <a:gd name="T21" fmla="*/ 377 h 734"/>
                  <a:gd name="T22" fmla="*/ 701 w 987"/>
                  <a:gd name="T23" fmla="*/ 322 h 734"/>
                  <a:gd name="T24" fmla="*/ 671 w 987"/>
                  <a:gd name="T25" fmla="*/ 172 h 734"/>
                  <a:gd name="T26" fmla="*/ 709 w 987"/>
                  <a:gd name="T27" fmla="*/ 152 h 734"/>
                  <a:gd name="T28" fmla="*/ 731 w 987"/>
                  <a:gd name="T29" fmla="*/ 117 h 734"/>
                  <a:gd name="T30" fmla="*/ 735 w 987"/>
                  <a:gd name="T31" fmla="*/ 89 h 734"/>
                  <a:gd name="T32" fmla="*/ 721 w 987"/>
                  <a:gd name="T33" fmla="*/ 40 h 734"/>
                  <a:gd name="T34" fmla="*/ 682 w 987"/>
                  <a:gd name="T35" fmla="*/ 8 h 734"/>
                  <a:gd name="T36" fmla="*/ 649 w 987"/>
                  <a:gd name="T37" fmla="*/ 0 h 734"/>
                  <a:gd name="T38" fmla="*/ 600 w 987"/>
                  <a:gd name="T39" fmla="*/ 16 h 734"/>
                  <a:gd name="T40" fmla="*/ 568 w 987"/>
                  <a:gd name="T41" fmla="*/ 54 h 734"/>
                  <a:gd name="T42" fmla="*/ 560 w 987"/>
                  <a:gd name="T43" fmla="*/ 89 h 734"/>
                  <a:gd name="T44" fmla="*/ 572 w 987"/>
                  <a:gd name="T45" fmla="*/ 130 h 734"/>
                  <a:gd name="T46" fmla="*/ 600 w 987"/>
                  <a:gd name="T47" fmla="*/ 161 h 734"/>
                  <a:gd name="T48" fmla="*/ 625 w 987"/>
                  <a:gd name="T49" fmla="*/ 284 h 734"/>
                  <a:gd name="T50" fmla="*/ 570 w 987"/>
                  <a:gd name="T51" fmla="*/ 265 h 734"/>
                  <a:gd name="T52" fmla="*/ 482 w 987"/>
                  <a:gd name="T53" fmla="*/ 245 h 734"/>
                  <a:gd name="T54" fmla="*/ 390 w 987"/>
                  <a:gd name="T55" fmla="*/ 238 h 734"/>
                  <a:gd name="T56" fmla="*/ 338 w 987"/>
                  <a:gd name="T57" fmla="*/ 240 h 734"/>
                  <a:gd name="T58" fmla="*/ 261 w 987"/>
                  <a:gd name="T59" fmla="*/ 251 h 734"/>
                  <a:gd name="T60" fmla="*/ 187 w 987"/>
                  <a:gd name="T61" fmla="*/ 273 h 734"/>
                  <a:gd name="T62" fmla="*/ 118 w 987"/>
                  <a:gd name="T63" fmla="*/ 301 h 734"/>
                  <a:gd name="T64" fmla="*/ 53 w 987"/>
                  <a:gd name="T65" fmla="*/ 338 h 734"/>
                  <a:gd name="T66" fmla="*/ 0 w 987"/>
                  <a:gd name="T67" fmla="*/ 468 h 734"/>
                  <a:gd name="T68" fmla="*/ 127 w 987"/>
                  <a:gd name="T69" fmla="*/ 445 h 734"/>
                  <a:gd name="T70" fmla="*/ 233 w 987"/>
                  <a:gd name="T71" fmla="*/ 394 h 734"/>
                  <a:gd name="T72" fmla="*/ 349 w 987"/>
                  <a:gd name="T73" fmla="*/ 369 h 734"/>
                  <a:gd name="T74" fmla="*/ 606 w 987"/>
                  <a:gd name="T75" fmla="*/ 89 h 734"/>
                  <a:gd name="T76" fmla="*/ 609 w 987"/>
                  <a:gd name="T77" fmla="*/ 71 h 734"/>
                  <a:gd name="T78" fmla="*/ 625 w 987"/>
                  <a:gd name="T79" fmla="*/ 54 h 734"/>
                  <a:gd name="T80" fmla="*/ 649 w 987"/>
                  <a:gd name="T81" fmla="*/ 46 h 734"/>
                  <a:gd name="T82" fmla="*/ 664 w 987"/>
                  <a:gd name="T83" fmla="*/ 49 h 734"/>
                  <a:gd name="T84" fmla="*/ 683 w 987"/>
                  <a:gd name="T85" fmla="*/ 65 h 734"/>
                  <a:gd name="T86" fmla="*/ 691 w 987"/>
                  <a:gd name="T87" fmla="*/ 89 h 734"/>
                  <a:gd name="T88" fmla="*/ 686 w 987"/>
                  <a:gd name="T89" fmla="*/ 104 h 734"/>
                  <a:gd name="T90" fmla="*/ 672 w 987"/>
                  <a:gd name="T91" fmla="*/ 123 h 734"/>
                  <a:gd name="T92" fmla="*/ 649 w 987"/>
                  <a:gd name="T93" fmla="*/ 131 h 734"/>
                  <a:gd name="T94" fmla="*/ 631 w 987"/>
                  <a:gd name="T95" fmla="*/ 126 h 734"/>
                  <a:gd name="T96" fmla="*/ 614 w 987"/>
                  <a:gd name="T97" fmla="*/ 112 h 734"/>
                  <a:gd name="T98" fmla="*/ 606 w 987"/>
                  <a:gd name="T99" fmla="*/ 89 h 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987" h="734">
                    <a:moveTo>
                      <a:pt x="390" y="367"/>
                    </a:moveTo>
                    <a:lnTo>
                      <a:pt x="390" y="367"/>
                    </a:lnTo>
                    <a:lnTo>
                      <a:pt x="433" y="369"/>
                    </a:lnTo>
                    <a:lnTo>
                      <a:pt x="474" y="375"/>
                    </a:lnTo>
                    <a:lnTo>
                      <a:pt x="513" y="383"/>
                    </a:lnTo>
                    <a:lnTo>
                      <a:pt x="553" y="396"/>
                    </a:lnTo>
                    <a:lnTo>
                      <a:pt x="590" y="410"/>
                    </a:lnTo>
                    <a:lnTo>
                      <a:pt x="625" y="429"/>
                    </a:lnTo>
                    <a:lnTo>
                      <a:pt x="660" y="449"/>
                    </a:lnTo>
                    <a:lnTo>
                      <a:pt x="691" y="471"/>
                    </a:lnTo>
                    <a:lnTo>
                      <a:pt x="721" y="498"/>
                    </a:lnTo>
                    <a:lnTo>
                      <a:pt x="749" y="527"/>
                    </a:lnTo>
                    <a:lnTo>
                      <a:pt x="775" y="556"/>
                    </a:lnTo>
                    <a:lnTo>
                      <a:pt x="797" y="588"/>
                    </a:lnTo>
                    <a:lnTo>
                      <a:pt x="817" y="623"/>
                    </a:lnTo>
                    <a:lnTo>
                      <a:pt x="836" y="659"/>
                    </a:lnTo>
                    <a:lnTo>
                      <a:pt x="850" y="695"/>
                    </a:lnTo>
                    <a:lnTo>
                      <a:pt x="861" y="734"/>
                    </a:lnTo>
                    <a:lnTo>
                      <a:pt x="898" y="649"/>
                    </a:lnTo>
                    <a:lnTo>
                      <a:pt x="987" y="705"/>
                    </a:lnTo>
                    <a:lnTo>
                      <a:pt x="987" y="705"/>
                    </a:lnTo>
                    <a:lnTo>
                      <a:pt x="979" y="673"/>
                    </a:lnTo>
                    <a:lnTo>
                      <a:pt x="968" y="642"/>
                    </a:lnTo>
                    <a:lnTo>
                      <a:pt x="956" y="610"/>
                    </a:lnTo>
                    <a:lnTo>
                      <a:pt x="942" y="580"/>
                    </a:lnTo>
                    <a:lnTo>
                      <a:pt x="926" y="552"/>
                    </a:lnTo>
                    <a:lnTo>
                      <a:pt x="910" y="523"/>
                    </a:lnTo>
                    <a:lnTo>
                      <a:pt x="891" y="497"/>
                    </a:lnTo>
                    <a:lnTo>
                      <a:pt x="872" y="470"/>
                    </a:lnTo>
                    <a:lnTo>
                      <a:pt x="850" y="445"/>
                    </a:lnTo>
                    <a:lnTo>
                      <a:pt x="828" y="421"/>
                    </a:lnTo>
                    <a:lnTo>
                      <a:pt x="805" y="399"/>
                    </a:lnTo>
                    <a:lnTo>
                      <a:pt x="781" y="377"/>
                    </a:lnTo>
                    <a:lnTo>
                      <a:pt x="754" y="358"/>
                    </a:lnTo>
                    <a:lnTo>
                      <a:pt x="727" y="339"/>
                    </a:lnTo>
                    <a:lnTo>
                      <a:pt x="701" y="322"/>
                    </a:lnTo>
                    <a:lnTo>
                      <a:pt x="671" y="306"/>
                    </a:lnTo>
                    <a:lnTo>
                      <a:pt x="671" y="172"/>
                    </a:lnTo>
                    <a:lnTo>
                      <a:pt x="671" y="172"/>
                    </a:lnTo>
                    <a:lnTo>
                      <a:pt x="685" y="167"/>
                    </a:lnTo>
                    <a:lnTo>
                      <a:pt x="698" y="161"/>
                    </a:lnTo>
                    <a:lnTo>
                      <a:pt x="709" y="152"/>
                    </a:lnTo>
                    <a:lnTo>
                      <a:pt x="718" y="142"/>
                    </a:lnTo>
                    <a:lnTo>
                      <a:pt x="726" y="130"/>
                    </a:lnTo>
                    <a:lnTo>
                      <a:pt x="731" y="117"/>
                    </a:lnTo>
                    <a:lnTo>
                      <a:pt x="735" y="103"/>
                    </a:lnTo>
                    <a:lnTo>
                      <a:pt x="735" y="89"/>
                    </a:lnTo>
                    <a:lnTo>
                      <a:pt x="735" y="89"/>
                    </a:lnTo>
                    <a:lnTo>
                      <a:pt x="734" y="71"/>
                    </a:lnTo>
                    <a:lnTo>
                      <a:pt x="729" y="54"/>
                    </a:lnTo>
                    <a:lnTo>
                      <a:pt x="721" y="40"/>
                    </a:lnTo>
                    <a:lnTo>
                      <a:pt x="710" y="27"/>
                    </a:lnTo>
                    <a:lnTo>
                      <a:pt x="698" y="16"/>
                    </a:lnTo>
                    <a:lnTo>
                      <a:pt x="682" y="8"/>
                    </a:lnTo>
                    <a:lnTo>
                      <a:pt x="666" y="2"/>
                    </a:lnTo>
                    <a:lnTo>
                      <a:pt x="649" y="0"/>
                    </a:lnTo>
                    <a:lnTo>
                      <a:pt x="649" y="0"/>
                    </a:lnTo>
                    <a:lnTo>
                      <a:pt x="631" y="2"/>
                    </a:lnTo>
                    <a:lnTo>
                      <a:pt x="614" y="8"/>
                    </a:lnTo>
                    <a:lnTo>
                      <a:pt x="600" y="16"/>
                    </a:lnTo>
                    <a:lnTo>
                      <a:pt x="587" y="27"/>
                    </a:lnTo>
                    <a:lnTo>
                      <a:pt x="576" y="40"/>
                    </a:lnTo>
                    <a:lnTo>
                      <a:pt x="568" y="54"/>
                    </a:lnTo>
                    <a:lnTo>
                      <a:pt x="562" y="71"/>
                    </a:lnTo>
                    <a:lnTo>
                      <a:pt x="560" y="89"/>
                    </a:lnTo>
                    <a:lnTo>
                      <a:pt x="560" y="89"/>
                    </a:lnTo>
                    <a:lnTo>
                      <a:pt x="562" y="103"/>
                    </a:lnTo>
                    <a:lnTo>
                      <a:pt x="565" y="117"/>
                    </a:lnTo>
                    <a:lnTo>
                      <a:pt x="572" y="130"/>
                    </a:lnTo>
                    <a:lnTo>
                      <a:pt x="579" y="142"/>
                    </a:lnTo>
                    <a:lnTo>
                      <a:pt x="589" y="152"/>
                    </a:lnTo>
                    <a:lnTo>
                      <a:pt x="600" y="161"/>
                    </a:lnTo>
                    <a:lnTo>
                      <a:pt x="612" y="167"/>
                    </a:lnTo>
                    <a:lnTo>
                      <a:pt x="625" y="172"/>
                    </a:lnTo>
                    <a:lnTo>
                      <a:pt x="625" y="284"/>
                    </a:lnTo>
                    <a:lnTo>
                      <a:pt x="625" y="284"/>
                    </a:lnTo>
                    <a:lnTo>
                      <a:pt x="598" y="274"/>
                    </a:lnTo>
                    <a:lnTo>
                      <a:pt x="570" y="265"/>
                    </a:lnTo>
                    <a:lnTo>
                      <a:pt x="542" y="257"/>
                    </a:lnTo>
                    <a:lnTo>
                      <a:pt x="512" y="251"/>
                    </a:lnTo>
                    <a:lnTo>
                      <a:pt x="482" y="245"/>
                    </a:lnTo>
                    <a:lnTo>
                      <a:pt x="452" y="241"/>
                    </a:lnTo>
                    <a:lnTo>
                      <a:pt x="422" y="238"/>
                    </a:lnTo>
                    <a:lnTo>
                      <a:pt x="390" y="238"/>
                    </a:lnTo>
                    <a:lnTo>
                      <a:pt x="390" y="238"/>
                    </a:lnTo>
                    <a:lnTo>
                      <a:pt x="364" y="238"/>
                    </a:lnTo>
                    <a:lnTo>
                      <a:pt x="338" y="240"/>
                    </a:lnTo>
                    <a:lnTo>
                      <a:pt x="312" y="243"/>
                    </a:lnTo>
                    <a:lnTo>
                      <a:pt x="286" y="246"/>
                    </a:lnTo>
                    <a:lnTo>
                      <a:pt x="261" y="251"/>
                    </a:lnTo>
                    <a:lnTo>
                      <a:pt x="236" y="257"/>
                    </a:lnTo>
                    <a:lnTo>
                      <a:pt x="212" y="265"/>
                    </a:lnTo>
                    <a:lnTo>
                      <a:pt x="187" y="273"/>
                    </a:lnTo>
                    <a:lnTo>
                      <a:pt x="164" y="281"/>
                    </a:lnTo>
                    <a:lnTo>
                      <a:pt x="142" y="290"/>
                    </a:lnTo>
                    <a:lnTo>
                      <a:pt x="118" y="301"/>
                    </a:lnTo>
                    <a:lnTo>
                      <a:pt x="96" y="312"/>
                    </a:lnTo>
                    <a:lnTo>
                      <a:pt x="75" y="325"/>
                    </a:lnTo>
                    <a:lnTo>
                      <a:pt x="53" y="338"/>
                    </a:lnTo>
                    <a:lnTo>
                      <a:pt x="33" y="352"/>
                    </a:lnTo>
                    <a:lnTo>
                      <a:pt x="14" y="367"/>
                    </a:lnTo>
                    <a:lnTo>
                      <a:pt x="0" y="468"/>
                    </a:lnTo>
                    <a:lnTo>
                      <a:pt x="96" y="467"/>
                    </a:lnTo>
                    <a:lnTo>
                      <a:pt x="96" y="467"/>
                    </a:lnTo>
                    <a:lnTo>
                      <a:pt x="127" y="445"/>
                    </a:lnTo>
                    <a:lnTo>
                      <a:pt x="160" y="426"/>
                    </a:lnTo>
                    <a:lnTo>
                      <a:pt x="197" y="408"/>
                    </a:lnTo>
                    <a:lnTo>
                      <a:pt x="233" y="394"/>
                    </a:lnTo>
                    <a:lnTo>
                      <a:pt x="271" y="383"/>
                    </a:lnTo>
                    <a:lnTo>
                      <a:pt x="308" y="374"/>
                    </a:lnTo>
                    <a:lnTo>
                      <a:pt x="349" y="369"/>
                    </a:lnTo>
                    <a:lnTo>
                      <a:pt x="390" y="367"/>
                    </a:lnTo>
                    <a:lnTo>
                      <a:pt x="390" y="367"/>
                    </a:lnTo>
                    <a:close/>
                    <a:moveTo>
                      <a:pt x="606" y="89"/>
                    </a:moveTo>
                    <a:lnTo>
                      <a:pt x="606" y="89"/>
                    </a:lnTo>
                    <a:lnTo>
                      <a:pt x="608" y="79"/>
                    </a:lnTo>
                    <a:lnTo>
                      <a:pt x="609" y="71"/>
                    </a:lnTo>
                    <a:lnTo>
                      <a:pt x="614" y="65"/>
                    </a:lnTo>
                    <a:lnTo>
                      <a:pt x="619" y="59"/>
                    </a:lnTo>
                    <a:lnTo>
                      <a:pt x="625" y="54"/>
                    </a:lnTo>
                    <a:lnTo>
                      <a:pt x="631" y="49"/>
                    </a:lnTo>
                    <a:lnTo>
                      <a:pt x="639" y="48"/>
                    </a:lnTo>
                    <a:lnTo>
                      <a:pt x="649" y="46"/>
                    </a:lnTo>
                    <a:lnTo>
                      <a:pt x="649" y="46"/>
                    </a:lnTo>
                    <a:lnTo>
                      <a:pt x="657" y="48"/>
                    </a:lnTo>
                    <a:lnTo>
                      <a:pt x="664" y="49"/>
                    </a:lnTo>
                    <a:lnTo>
                      <a:pt x="672" y="54"/>
                    </a:lnTo>
                    <a:lnTo>
                      <a:pt x="679" y="59"/>
                    </a:lnTo>
                    <a:lnTo>
                      <a:pt x="683" y="65"/>
                    </a:lnTo>
                    <a:lnTo>
                      <a:pt x="686" y="71"/>
                    </a:lnTo>
                    <a:lnTo>
                      <a:pt x="690" y="79"/>
                    </a:lnTo>
                    <a:lnTo>
                      <a:pt x="691" y="89"/>
                    </a:lnTo>
                    <a:lnTo>
                      <a:pt x="691" y="89"/>
                    </a:lnTo>
                    <a:lnTo>
                      <a:pt x="690" y="96"/>
                    </a:lnTo>
                    <a:lnTo>
                      <a:pt x="686" y="104"/>
                    </a:lnTo>
                    <a:lnTo>
                      <a:pt x="683" y="112"/>
                    </a:lnTo>
                    <a:lnTo>
                      <a:pt x="679" y="119"/>
                    </a:lnTo>
                    <a:lnTo>
                      <a:pt x="672" y="123"/>
                    </a:lnTo>
                    <a:lnTo>
                      <a:pt x="664" y="126"/>
                    </a:lnTo>
                    <a:lnTo>
                      <a:pt x="657" y="130"/>
                    </a:lnTo>
                    <a:lnTo>
                      <a:pt x="649" y="131"/>
                    </a:lnTo>
                    <a:lnTo>
                      <a:pt x="649" y="131"/>
                    </a:lnTo>
                    <a:lnTo>
                      <a:pt x="639" y="130"/>
                    </a:lnTo>
                    <a:lnTo>
                      <a:pt x="631" y="126"/>
                    </a:lnTo>
                    <a:lnTo>
                      <a:pt x="625" y="123"/>
                    </a:lnTo>
                    <a:lnTo>
                      <a:pt x="619" y="119"/>
                    </a:lnTo>
                    <a:lnTo>
                      <a:pt x="614" y="112"/>
                    </a:lnTo>
                    <a:lnTo>
                      <a:pt x="609" y="104"/>
                    </a:lnTo>
                    <a:lnTo>
                      <a:pt x="608" y="96"/>
                    </a:lnTo>
                    <a:lnTo>
                      <a:pt x="606" y="89"/>
                    </a:lnTo>
                    <a:lnTo>
                      <a:pt x="606" y="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7" name="Freeform 12">
                <a:extLst>
                  <a:ext uri="{FF2B5EF4-FFF2-40B4-BE49-F238E27FC236}">
                    <a16:creationId xmlns:a16="http://schemas.microsoft.com/office/drawing/2014/main" id="{F6624E35-6903-4A3C-940E-5C57FBA8D0E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881328" y="3180771"/>
                <a:ext cx="152596" cy="180358"/>
              </a:xfrm>
              <a:custGeom>
                <a:avLst/>
                <a:gdLst>
                  <a:gd name="T0" fmla="*/ 735 w 852"/>
                  <a:gd name="T1" fmla="*/ 846 h 1007"/>
                  <a:gd name="T2" fmla="*/ 634 w 852"/>
                  <a:gd name="T3" fmla="*/ 758 h 1007"/>
                  <a:gd name="T4" fmla="*/ 560 w 852"/>
                  <a:gd name="T5" fmla="*/ 644 h 1007"/>
                  <a:gd name="T6" fmla="*/ 521 w 852"/>
                  <a:gd name="T7" fmla="*/ 512 h 1007"/>
                  <a:gd name="T8" fmla="*/ 516 w 852"/>
                  <a:gd name="T9" fmla="*/ 416 h 1007"/>
                  <a:gd name="T10" fmla="*/ 530 w 852"/>
                  <a:gd name="T11" fmla="*/ 320 h 1007"/>
                  <a:gd name="T12" fmla="*/ 562 w 852"/>
                  <a:gd name="T13" fmla="*/ 232 h 1007"/>
                  <a:gd name="T14" fmla="*/ 609 w 852"/>
                  <a:gd name="T15" fmla="*/ 153 h 1007"/>
                  <a:gd name="T16" fmla="*/ 557 w 852"/>
                  <a:gd name="T17" fmla="*/ 103 h 1007"/>
                  <a:gd name="T18" fmla="*/ 518 w 852"/>
                  <a:gd name="T19" fmla="*/ 58 h 1007"/>
                  <a:gd name="T20" fmla="*/ 436 w 852"/>
                  <a:gd name="T21" fmla="*/ 199 h 1007"/>
                  <a:gd name="T22" fmla="*/ 171 w 852"/>
                  <a:gd name="T23" fmla="*/ 276 h 1007"/>
                  <a:gd name="T24" fmla="*/ 141 w 852"/>
                  <a:gd name="T25" fmla="*/ 229 h 1007"/>
                  <a:gd name="T26" fmla="*/ 88 w 852"/>
                  <a:gd name="T27" fmla="*/ 211 h 1007"/>
                  <a:gd name="T28" fmla="*/ 39 w 852"/>
                  <a:gd name="T29" fmla="*/ 225 h 1007"/>
                  <a:gd name="T30" fmla="*/ 1 w 852"/>
                  <a:gd name="T31" fmla="*/ 281 h 1007"/>
                  <a:gd name="T32" fmla="*/ 6 w 852"/>
                  <a:gd name="T33" fmla="*/ 333 h 1007"/>
                  <a:gd name="T34" fmla="*/ 53 w 852"/>
                  <a:gd name="T35" fmla="*/ 378 h 1007"/>
                  <a:gd name="T36" fmla="*/ 102 w 852"/>
                  <a:gd name="T37" fmla="*/ 384 h 1007"/>
                  <a:gd name="T38" fmla="*/ 151 w 852"/>
                  <a:gd name="T39" fmla="*/ 358 h 1007"/>
                  <a:gd name="T40" fmla="*/ 239 w 852"/>
                  <a:gd name="T41" fmla="*/ 321 h 1007"/>
                  <a:gd name="T42" fmla="*/ 212 w 852"/>
                  <a:gd name="T43" fmla="*/ 511 h 1007"/>
                  <a:gd name="T44" fmla="*/ 179 w 852"/>
                  <a:gd name="T45" fmla="*/ 553 h 1007"/>
                  <a:gd name="T46" fmla="*/ 176 w 852"/>
                  <a:gd name="T47" fmla="*/ 600 h 1007"/>
                  <a:gd name="T48" fmla="*/ 212 w 852"/>
                  <a:gd name="T49" fmla="*/ 655 h 1007"/>
                  <a:gd name="T50" fmla="*/ 261 w 852"/>
                  <a:gd name="T51" fmla="*/ 670 h 1007"/>
                  <a:gd name="T52" fmla="*/ 315 w 852"/>
                  <a:gd name="T53" fmla="*/ 652 h 1007"/>
                  <a:gd name="T54" fmla="*/ 346 w 852"/>
                  <a:gd name="T55" fmla="*/ 605 h 1007"/>
                  <a:gd name="T56" fmla="*/ 431 w 852"/>
                  <a:gd name="T57" fmla="*/ 671 h 1007"/>
                  <a:gd name="T58" fmla="*/ 497 w 852"/>
                  <a:gd name="T59" fmla="*/ 792 h 1007"/>
                  <a:gd name="T60" fmla="*/ 587 w 852"/>
                  <a:gd name="T61" fmla="*/ 896 h 1007"/>
                  <a:gd name="T62" fmla="*/ 699 w 852"/>
                  <a:gd name="T63" fmla="*/ 977 h 1007"/>
                  <a:gd name="T64" fmla="*/ 795 w 852"/>
                  <a:gd name="T65" fmla="*/ 881 h 1007"/>
                  <a:gd name="T66" fmla="*/ 71 w 852"/>
                  <a:gd name="T67" fmla="*/ 337 h 1007"/>
                  <a:gd name="T68" fmla="*/ 49 w 852"/>
                  <a:gd name="T69" fmla="*/ 315 h 1007"/>
                  <a:gd name="T70" fmla="*/ 45 w 852"/>
                  <a:gd name="T71" fmla="*/ 290 h 1007"/>
                  <a:gd name="T72" fmla="*/ 64 w 852"/>
                  <a:gd name="T73" fmla="*/ 263 h 1007"/>
                  <a:gd name="T74" fmla="*/ 88 w 852"/>
                  <a:gd name="T75" fmla="*/ 257 h 1007"/>
                  <a:gd name="T76" fmla="*/ 118 w 852"/>
                  <a:gd name="T77" fmla="*/ 268 h 1007"/>
                  <a:gd name="T78" fmla="*/ 129 w 852"/>
                  <a:gd name="T79" fmla="*/ 298 h 1007"/>
                  <a:gd name="T80" fmla="*/ 123 w 852"/>
                  <a:gd name="T81" fmla="*/ 321 h 1007"/>
                  <a:gd name="T82" fmla="*/ 96 w 852"/>
                  <a:gd name="T83" fmla="*/ 339 h 1007"/>
                  <a:gd name="T84" fmla="*/ 261 w 852"/>
                  <a:gd name="T85" fmla="*/ 624 h 1007"/>
                  <a:gd name="T86" fmla="*/ 231 w 852"/>
                  <a:gd name="T87" fmla="*/ 613 h 1007"/>
                  <a:gd name="T88" fmla="*/ 219 w 852"/>
                  <a:gd name="T89" fmla="*/ 583 h 1007"/>
                  <a:gd name="T90" fmla="*/ 227 w 852"/>
                  <a:gd name="T91" fmla="*/ 559 h 1007"/>
                  <a:gd name="T92" fmla="*/ 253 w 852"/>
                  <a:gd name="T93" fmla="*/ 542 h 1007"/>
                  <a:gd name="T94" fmla="*/ 279 w 852"/>
                  <a:gd name="T95" fmla="*/ 544 h 1007"/>
                  <a:gd name="T96" fmla="*/ 301 w 852"/>
                  <a:gd name="T97" fmla="*/ 566 h 1007"/>
                  <a:gd name="T98" fmla="*/ 302 w 852"/>
                  <a:gd name="T99" fmla="*/ 591 h 1007"/>
                  <a:gd name="T100" fmla="*/ 285 w 852"/>
                  <a:gd name="T101" fmla="*/ 618 h 1007"/>
                  <a:gd name="T102" fmla="*/ 261 w 852"/>
                  <a:gd name="T103" fmla="*/ 624 h 1007"/>
                  <a:gd name="T104" fmla="*/ 337 w 852"/>
                  <a:gd name="T105" fmla="*/ 539 h 1007"/>
                  <a:gd name="T106" fmla="*/ 305 w 852"/>
                  <a:gd name="T107" fmla="*/ 507 h 1007"/>
                  <a:gd name="T108" fmla="*/ 398 w 852"/>
                  <a:gd name="T109" fmla="*/ 321 h 1007"/>
                  <a:gd name="T110" fmla="*/ 387 w 852"/>
                  <a:gd name="T111" fmla="*/ 410 h 1007"/>
                  <a:gd name="T112" fmla="*/ 389 w 852"/>
                  <a:gd name="T113" fmla="*/ 501 h 10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852" h="1007">
                    <a:moveTo>
                      <a:pt x="795" y="881"/>
                    </a:moveTo>
                    <a:lnTo>
                      <a:pt x="795" y="881"/>
                    </a:lnTo>
                    <a:lnTo>
                      <a:pt x="764" y="865"/>
                    </a:lnTo>
                    <a:lnTo>
                      <a:pt x="735" y="846"/>
                    </a:lnTo>
                    <a:lnTo>
                      <a:pt x="707" y="827"/>
                    </a:lnTo>
                    <a:lnTo>
                      <a:pt x="682" y="807"/>
                    </a:lnTo>
                    <a:lnTo>
                      <a:pt x="656" y="783"/>
                    </a:lnTo>
                    <a:lnTo>
                      <a:pt x="634" y="758"/>
                    </a:lnTo>
                    <a:lnTo>
                      <a:pt x="612" y="731"/>
                    </a:lnTo>
                    <a:lnTo>
                      <a:pt x="593" y="704"/>
                    </a:lnTo>
                    <a:lnTo>
                      <a:pt x="576" y="674"/>
                    </a:lnTo>
                    <a:lnTo>
                      <a:pt x="560" y="644"/>
                    </a:lnTo>
                    <a:lnTo>
                      <a:pt x="548" y="613"/>
                    </a:lnTo>
                    <a:lnTo>
                      <a:pt x="535" y="580"/>
                    </a:lnTo>
                    <a:lnTo>
                      <a:pt x="527" y="547"/>
                    </a:lnTo>
                    <a:lnTo>
                      <a:pt x="521" y="512"/>
                    </a:lnTo>
                    <a:lnTo>
                      <a:pt x="516" y="476"/>
                    </a:lnTo>
                    <a:lnTo>
                      <a:pt x="516" y="440"/>
                    </a:lnTo>
                    <a:lnTo>
                      <a:pt x="516" y="440"/>
                    </a:lnTo>
                    <a:lnTo>
                      <a:pt x="516" y="416"/>
                    </a:lnTo>
                    <a:lnTo>
                      <a:pt x="518" y="391"/>
                    </a:lnTo>
                    <a:lnTo>
                      <a:pt x="521" y="367"/>
                    </a:lnTo>
                    <a:lnTo>
                      <a:pt x="526" y="344"/>
                    </a:lnTo>
                    <a:lnTo>
                      <a:pt x="530" y="320"/>
                    </a:lnTo>
                    <a:lnTo>
                      <a:pt x="537" y="298"/>
                    </a:lnTo>
                    <a:lnTo>
                      <a:pt x="545" y="276"/>
                    </a:lnTo>
                    <a:lnTo>
                      <a:pt x="553" y="254"/>
                    </a:lnTo>
                    <a:lnTo>
                      <a:pt x="562" y="232"/>
                    </a:lnTo>
                    <a:lnTo>
                      <a:pt x="573" y="211"/>
                    </a:lnTo>
                    <a:lnTo>
                      <a:pt x="584" y="191"/>
                    </a:lnTo>
                    <a:lnTo>
                      <a:pt x="597" y="172"/>
                    </a:lnTo>
                    <a:lnTo>
                      <a:pt x="609" y="153"/>
                    </a:lnTo>
                    <a:lnTo>
                      <a:pt x="623" y="134"/>
                    </a:lnTo>
                    <a:lnTo>
                      <a:pt x="639" y="117"/>
                    </a:lnTo>
                    <a:lnTo>
                      <a:pt x="655" y="99"/>
                    </a:lnTo>
                    <a:lnTo>
                      <a:pt x="557" y="103"/>
                    </a:lnTo>
                    <a:lnTo>
                      <a:pt x="573" y="0"/>
                    </a:lnTo>
                    <a:lnTo>
                      <a:pt x="573" y="0"/>
                    </a:lnTo>
                    <a:lnTo>
                      <a:pt x="545" y="28"/>
                    </a:lnTo>
                    <a:lnTo>
                      <a:pt x="518" y="58"/>
                    </a:lnTo>
                    <a:lnTo>
                      <a:pt x="494" y="91"/>
                    </a:lnTo>
                    <a:lnTo>
                      <a:pt x="472" y="126"/>
                    </a:lnTo>
                    <a:lnTo>
                      <a:pt x="453" y="161"/>
                    </a:lnTo>
                    <a:lnTo>
                      <a:pt x="436" y="199"/>
                    </a:lnTo>
                    <a:lnTo>
                      <a:pt x="420" y="236"/>
                    </a:lnTo>
                    <a:lnTo>
                      <a:pt x="409" y="276"/>
                    </a:lnTo>
                    <a:lnTo>
                      <a:pt x="171" y="276"/>
                    </a:lnTo>
                    <a:lnTo>
                      <a:pt x="171" y="276"/>
                    </a:lnTo>
                    <a:lnTo>
                      <a:pt x="167" y="262"/>
                    </a:lnTo>
                    <a:lnTo>
                      <a:pt x="160" y="249"/>
                    </a:lnTo>
                    <a:lnTo>
                      <a:pt x="151" y="238"/>
                    </a:lnTo>
                    <a:lnTo>
                      <a:pt x="141" y="229"/>
                    </a:lnTo>
                    <a:lnTo>
                      <a:pt x="129" y="222"/>
                    </a:lnTo>
                    <a:lnTo>
                      <a:pt x="116" y="216"/>
                    </a:lnTo>
                    <a:lnTo>
                      <a:pt x="102" y="213"/>
                    </a:lnTo>
                    <a:lnTo>
                      <a:pt x="88" y="211"/>
                    </a:lnTo>
                    <a:lnTo>
                      <a:pt x="88" y="211"/>
                    </a:lnTo>
                    <a:lnTo>
                      <a:pt x="69" y="213"/>
                    </a:lnTo>
                    <a:lnTo>
                      <a:pt x="53" y="218"/>
                    </a:lnTo>
                    <a:lnTo>
                      <a:pt x="39" y="225"/>
                    </a:lnTo>
                    <a:lnTo>
                      <a:pt x="25" y="236"/>
                    </a:lnTo>
                    <a:lnTo>
                      <a:pt x="15" y="249"/>
                    </a:lnTo>
                    <a:lnTo>
                      <a:pt x="6" y="265"/>
                    </a:lnTo>
                    <a:lnTo>
                      <a:pt x="1" y="281"/>
                    </a:lnTo>
                    <a:lnTo>
                      <a:pt x="0" y="298"/>
                    </a:lnTo>
                    <a:lnTo>
                      <a:pt x="0" y="298"/>
                    </a:lnTo>
                    <a:lnTo>
                      <a:pt x="1" y="315"/>
                    </a:lnTo>
                    <a:lnTo>
                      <a:pt x="6" y="333"/>
                    </a:lnTo>
                    <a:lnTo>
                      <a:pt x="15" y="347"/>
                    </a:lnTo>
                    <a:lnTo>
                      <a:pt x="25" y="359"/>
                    </a:lnTo>
                    <a:lnTo>
                      <a:pt x="39" y="370"/>
                    </a:lnTo>
                    <a:lnTo>
                      <a:pt x="53" y="378"/>
                    </a:lnTo>
                    <a:lnTo>
                      <a:pt x="69" y="384"/>
                    </a:lnTo>
                    <a:lnTo>
                      <a:pt x="88" y="386"/>
                    </a:lnTo>
                    <a:lnTo>
                      <a:pt x="88" y="386"/>
                    </a:lnTo>
                    <a:lnTo>
                      <a:pt x="102" y="384"/>
                    </a:lnTo>
                    <a:lnTo>
                      <a:pt x="116" y="381"/>
                    </a:lnTo>
                    <a:lnTo>
                      <a:pt x="129" y="375"/>
                    </a:lnTo>
                    <a:lnTo>
                      <a:pt x="141" y="367"/>
                    </a:lnTo>
                    <a:lnTo>
                      <a:pt x="151" y="358"/>
                    </a:lnTo>
                    <a:lnTo>
                      <a:pt x="160" y="347"/>
                    </a:lnTo>
                    <a:lnTo>
                      <a:pt x="167" y="334"/>
                    </a:lnTo>
                    <a:lnTo>
                      <a:pt x="171" y="321"/>
                    </a:lnTo>
                    <a:lnTo>
                      <a:pt x="239" y="321"/>
                    </a:lnTo>
                    <a:lnTo>
                      <a:pt x="239" y="498"/>
                    </a:lnTo>
                    <a:lnTo>
                      <a:pt x="239" y="498"/>
                    </a:lnTo>
                    <a:lnTo>
                      <a:pt x="225" y="503"/>
                    </a:lnTo>
                    <a:lnTo>
                      <a:pt x="212" y="511"/>
                    </a:lnTo>
                    <a:lnTo>
                      <a:pt x="201" y="518"/>
                    </a:lnTo>
                    <a:lnTo>
                      <a:pt x="192" y="529"/>
                    </a:lnTo>
                    <a:lnTo>
                      <a:pt x="184" y="540"/>
                    </a:lnTo>
                    <a:lnTo>
                      <a:pt x="179" y="553"/>
                    </a:lnTo>
                    <a:lnTo>
                      <a:pt x="175" y="567"/>
                    </a:lnTo>
                    <a:lnTo>
                      <a:pt x="175" y="583"/>
                    </a:lnTo>
                    <a:lnTo>
                      <a:pt x="175" y="583"/>
                    </a:lnTo>
                    <a:lnTo>
                      <a:pt x="176" y="600"/>
                    </a:lnTo>
                    <a:lnTo>
                      <a:pt x="181" y="616"/>
                    </a:lnTo>
                    <a:lnTo>
                      <a:pt x="189" y="632"/>
                    </a:lnTo>
                    <a:lnTo>
                      <a:pt x="200" y="644"/>
                    </a:lnTo>
                    <a:lnTo>
                      <a:pt x="212" y="655"/>
                    </a:lnTo>
                    <a:lnTo>
                      <a:pt x="228" y="663"/>
                    </a:lnTo>
                    <a:lnTo>
                      <a:pt x="244" y="668"/>
                    </a:lnTo>
                    <a:lnTo>
                      <a:pt x="261" y="670"/>
                    </a:lnTo>
                    <a:lnTo>
                      <a:pt x="261" y="670"/>
                    </a:lnTo>
                    <a:lnTo>
                      <a:pt x="277" y="668"/>
                    </a:lnTo>
                    <a:lnTo>
                      <a:pt x="290" y="665"/>
                    </a:lnTo>
                    <a:lnTo>
                      <a:pt x="304" y="659"/>
                    </a:lnTo>
                    <a:lnTo>
                      <a:pt x="315" y="652"/>
                    </a:lnTo>
                    <a:lnTo>
                      <a:pt x="326" y="643"/>
                    </a:lnTo>
                    <a:lnTo>
                      <a:pt x="334" y="632"/>
                    </a:lnTo>
                    <a:lnTo>
                      <a:pt x="342" y="619"/>
                    </a:lnTo>
                    <a:lnTo>
                      <a:pt x="346" y="605"/>
                    </a:lnTo>
                    <a:lnTo>
                      <a:pt x="408" y="605"/>
                    </a:lnTo>
                    <a:lnTo>
                      <a:pt x="408" y="605"/>
                    </a:lnTo>
                    <a:lnTo>
                      <a:pt x="419" y="638"/>
                    </a:lnTo>
                    <a:lnTo>
                      <a:pt x="431" y="671"/>
                    </a:lnTo>
                    <a:lnTo>
                      <a:pt x="445" y="704"/>
                    </a:lnTo>
                    <a:lnTo>
                      <a:pt x="461" y="734"/>
                    </a:lnTo>
                    <a:lnTo>
                      <a:pt x="479" y="764"/>
                    </a:lnTo>
                    <a:lnTo>
                      <a:pt x="497" y="792"/>
                    </a:lnTo>
                    <a:lnTo>
                      <a:pt x="518" y="821"/>
                    </a:lnTo>
                    <a:lnTo>
                      <a:pt x="540" y="848"/>
                    </a:lnTo>
                    <a:lnTo>
                      <a:pt x="564" y="873"/>
                    </a:lnTo>
                    <a:lnTo>
                      <a:pt x="587" y="896"/>
                    </a:lnTo>
                    <a:lnTo>
                      <a:pt x="614" y="919"/>
                    </a:lnTo>
                    <a:lnTo>
                      <a:pt x="641" y="939"/>
                    </a:lnTo>
                    <a:lnTo>
                      <a:pt x="669" y="959"/>
                    </a:lnTo>
                    <a:lnTo>
                      <a:pt x="699" y="977"/>
                    </a:lnTo>
                    <a:lnTo>
                      <a:pt x="731" y="993"/>
                    </a:lnTo>
                    <a:lnTo>
                      <a:pt x="762" y="1007"/>
                    </a:lnTo>
                    <a:lnTo>
                      <a:pt x="852" y="969"/>
                    </a:lnTo>
                    <a:lnTo>
                      <a:pt x="795" y="881"/>
                    </a:lnTo>
                    <a:close/>
                    <a:moveTo>
                      <a:pt x="88" y="340"/>
                    </a:moveTo>
                    <a:lnTo>
                      <a:pt x="88" y="340"/>
                    </a:lnTo>
                    <a:lnTo>
                      <a:pt x="78" y="339"/>
                    </a:lnTo>
                    <a:lnTo>
                      <a:pt x="71" y="337"/>
                    </a:lnTo>
                    <a:lnTo>
                      <a:pt x="64" y="333"/>
                    </a:lnTo>
                    <a:lnTo>
                      <a:pt x="58" y="328"/>
                    </a:lnTo>
                    <a:lnTo>
                      <a:pt x="52" y="321"/>
                    </a:lnTo>
                    <a:lnTo>
                      <a:pt x="49" y="315"/>
                    </a:lnTo>
                    <a:lnTo>
                      <a:pt x="45" y="307"/>
                    </a:lnTo>
                    <a:lnTo>
                      <a:pt x="45" y="298"/>
                    </a:lnTo>
                    <a:lnTo>
                      <a:pt x="45" y="298"/>
                    </a:lnTo>
                    <a:lnTo>
                      <a:pt x="45" y="290"/>
                    </a:lnTo>
                    <a:lnTo>
                      <a:pt x="49" y="282"/>
                    </a:lnTo>
                    <a:lnTo>
                      <a:pt x="52" y="274"/>
                    </a:lnTo>
                    <a:lnTo>
                      <a:pt x="58" y="268"/>
                    </a:lnTo>
                    <a:lnTo>
                      <a:pt x="64" y="263"/>
                    </a:lnTo>
                    <a:lnTo>
                      <a:pt x="71" y="260"/>
                    </a:lnTo>
                    <a:lnTo>
                      <a:pt x="78" y="257"/>
                    </a:lnTo>
                    <a:lnTo>
                      <a:pt x="88" y="257"/>
                    </a:lnTo>
                    <a:lnTo>
                      <a:pt x="88" y="257"/>
                    </a:lnTo>
                    <a:lnTo>
                      <a:pt x="96" y="257"/>
                    </a:lnTo>
                    <a:lnTo>
                      <a:pt x="104" y="260"/>
                    </a:lnTo>
                    <a:lnTo>
                      <a:pt x="112" y="263"/>
                    </a:lnTo>
                    <a:lnTo>
                      <a:pt x="118" y="268"/>
                    </a:lnTo>
                    <a:lnTo>
                      <a:pt x="123" y="274"/>
                    </a:lnTo>
                    <a:lnTo>
                      <a:pt x="126" y="282"/>
                    </a:lnTo>
                    <a:lnTo>
                      <a:pt x="129" y="290"/>
                    </a:lnTo>
                    <a:lnTo>
                      <a:pt x="129" y="298"/>
                    </a:lnTo>
                    <a:lnTo>
                      <a:pt x="129" y="298"/>
                    </a:lnTo>
                    <a:lnTo>
                      <a:pt x="129" y="307"/>
                    </a:lnTo>
                    <a:lnTo>
                      <a:pt x="126" y="315"/>
                    </a:lnTo>
                    <a:lnTo>
                      <a:pt x="123" y="321"/>
                    </a:lnTo>
                    <a:lnTo>
                      <a:pt x="118" y="328"/>
                    </a:lnTo>
                    <a:lnTo>
                      <a:pt x="112" y="333"/>
                    </a:lnTo>
                    <a:lnTo>
                      <a:pt x="104" y="337"/>
                    </a:lnTo>
                    <a:lnTo>
                      <a:pt x="96" y="339"/>
                    </a:lnTo>
                    <a:lnTo>
                      <a:pt x="88" y="340"/>
                    </a:lnTo>
                    <a:lnTo>
                      <a:pt x="88" y="340"/>
                    </a:lnTo>
                    <a:close/>
                    <a:moveTo>
                      <a:pt x="261" y="624"/>
                    </a:moveTo>
                    <a:lnTo>
                      <a:pt x="261" y="624"/>
                    </a:lnTo>
                    <a:lnTo>
                      <a:pt x="253" y="624"/>
                    </a:lnTo>
                    <a:lnTo>
                      <a:pt x="245" y="621"/>
                    </a:lnTo>
                    <a:lnTo>
                      <a:pt x="238" y="618"/>
                    </a:lnTo>
                    <a:lnTo>
                      <a:pt x="231" y="613"/>
                    </a:lnTo>
                    <a:lnTo>
                      <a:pt x="227" y="607"/>
                    </a:lnTo>
                    <a:lnTo>
                      <a:pt x="223" y="599"/>
                    </a:lnTo>
                    <a:lnTo>
                      <a:pt x="220" y="591"/>
                    </a:lnTo>
                    <a:lnTo>
                      <a:pt x="219" y="583"/>
                    </a:lnTo>
                    <a:lnTo>
                      <a:pt x="219" y="583"/>
                    </a:lnTo>
                    <a:lnTo>
                      <a:pt x="220" y="574"/>
                    </a:lnTo>
                    <a:lnTo>
                      <a:pt x="223" y="566"/>
                    </a:lnTo>
                    <a:lnTo>
                      <a:pt x="227" y="559"/>
                    </a:lnTo>
                    <a:lnTo>
                      <a:pt x="231" y="553"/>
                    </a:lnTo>
                    <a:lnTo>
                      <a:pt x="238" y="548"/>
                    </a:lnTo>
                    <a:lnTo>
                      <a:pt x="245" y="544"/>
                    </a:lnTo>
                    <a:lnTo>
                      <a:pt x="253" y="542"/>
                    </a:lnTo>
                    <a:lnTo>
                      <a:pt x="261" y="540"/>
                    </a:lnTo>
                    <a:lnTo>
                      <a:pt x="261" y="540"/>
                    </a:lnTo>
                    <a:lnTo>
                      <a:pt x="271" y="542"/>
                    </a:lnTo>
                    <a:lnTo>
                      <a:pt x="279" y="544"/>
                    </a:lnTo>
                    <a:lnTo>
                      <a:pt x="285" y="548"/>
                    </a:lnTo>
                    <a:lnTo>
                      <a:pt x="291" y="553"/>
                    </a:lnTo>
                    <a:lnTo>
                      <a:pt x="296" y="559"/>
                    </a:lnTo>
                    <a:lnTo>
                      <a:pt x="301" y="566"/>
                    </a:lnTo>
                    <a:lnTo>
                      <a:pt x="302" y="574"/>
                    </a:lnTo>
                    <a:lnTo>
                      <a:pt x="304" y="583"/>
                    </a:lnTo>
                    <a:lnTo>
                      <a:pt x="304" y="583"/>
                    </a:lnTo>
                    <a:lnTo>
                      <a:pt x="302" y="591"/>
                    </a:lnTo>
                    <a:lnTo>
                      <a:pt x="301" y="599"/>
                    </a:lnTo>
                    <a:lnTo>
                      <a:pt x="296" y="607"/>
                    </a:lnTo>
                    <a:lnTo>
                      <a:pt x="291" y="613"/>
                    </a:lnTo>
                    <a:lnTo>
                      <a:pt x="285" y="618"/>
                    </a:lnTo>
                    <a:lnTo>
                      <a:pt x="279" y="621"/>
                    </a:lnTo>
                    <a:lnTo>
                      <a:pt x="271" y="624"/>
                    </a:lnTo>
                    <a:lnTo>
                      <a:pt x="261" y="624"/>
                    </a:lnTo>
                    <a:lnTo>
                      <a:pt x="261" y="624"/>
                    </a:lnTo>
                    <a:close/>
                    <a:moveTo>
                      <a:pt x="346" y="559"/>
                    </a:moveTo>
                    <a:lnTo>
                      <a:pt x="346" y="559"/>
                    </a:lnTo>
                    <a:lnTo>
                      <a:pt x="342" y="548"/>
                    </a:lnTo>
                    <a:lnTo>
                      <a:pt x="337" y="539"/>
                    </a:lnTo>
                    <a:lnTo>
                      <a:pt x="330" y="529"/>
                    </a:lnTo>
                    <a:lnTo>
                      <a:pt x="323" y="522"/>
                    </a:lnTo>
                    <a:lnTo>
                      <a:pt x="315" y="514"/>
                    </a:lnTo>
                    <a:lnTo>
                      <a:pt x="305" y="507"/>
                    </a:lnTo>
                    <a:lnTo>
                      <a:pt x="294" y="501"/>
                    </a:lnTo>
                    <a:lnTo>
                      <a:pt x="285" y="498"/>
                    </a:lnTo>
                    <a:lnTo>
                      <a:pt x="285" y="321"/>
                    </a:lnTo>
                    <a:lnTo>
                      <a:pt x="398" y="321"/>
                    </a:lnTo>
                    <a:lnTo>
                      <a:pt x="398" y="321"/>
                    </a:lnTo>
                    <a:lnTo>
                      <a:pt x="392" y="350"/>
                    </a:lnTo>
                    <a:lnTo>
                      <a:pt x="389" y="380"/>
                    </a:lnTo>
                    <a:lnTo>
                      <a:pt x="387" y="410"/>
                    </a:lnTo>
                    <a:lnTo>
                      <a:pt x="386" y="440"/>
                    </a:lnTo>
                    <a:lnTo>
                      <a:pt x="386" y="440"/>
                    </a:lnTo>
                    <a:lnTo>
                      <a:pt x="387" y="471"/>
                    </a:lnTo>
                    <a:lnTo>
                      <a:pt x="389" y="501"/>
                    </a:lnTo>
                    <a:lnTo>
                      <a:pt x="392" y="531"/>
                    </a:lnTo>
                    <a:lnTo>
                      <a:pt x="398" y="559"/>
                    </a:lnTo>
                    <a:lnTo>
                      <a:pt x="346" y="55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8" name="Freeform 13">
                <a:extLst>
                  <a:ext uri="{FF2B5EF4-FFF2-40B4-BE49-F238E27FC236}">
                    <a16:creationId xmlns:a16="http://schemas.microsoft.com/office/drawing/2014/main" id="{1596B08A-1255-4963-B9F0-AA16E5497E9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5028731" y="3235039"/>
                <a:ext cx="200059" cy="195761"/>
              </a:xfrm>
              <a:custGeom>
                <a:avLst/>
                <a:gdLst>
                  <a:gd name="T0" fmla="*/ 1000 w 1117"/>
                  <a:gd name="T1" fmla="*/ 196 h 1093"/>
                  <a:gd name="T2" fmla="*/ 956 w 1117"/>
                  <a:gd name="T3" fmla="*/ 231 h 1093"/>
                  <a:gd name="T4" fmla="*/ 782 w 1117"/>
                  <a:gd name="T5" fmla="*/ 256 h 1093"/>
                  <a:gd name="T6" fmla="*/ 794 w 1117"/>
                  <a:gd name="T7" fmla="*/ 137 h 1093"/>
                  <a:gd name="T8" fmla="*/ 706 w 1117"/>
                  <a:gd name="T9" fmla="*/ 0 h 1093"/>
                  <a:gd name="T10" fmla="*/ 663 w 1117"/>
                  <a:gd name="T11" fmla="*/ 137 h 1093"/>
                  <a:gd name="T12" fmla="*/ 654 w 1117"/>
                  <a:gd name="T13" fmla="*/ 236 h 1093"/>
                  <a:gd name="T14" fmla="*/ 626 w 1117"/>
                  <a:gd name="T15" fmla="*/ 327 h 1093"/>
                  <a:gd name="T16" fmla="*/ 582 w 1117"/>
                  <a:gd name="T17" fmla="*/ 409 h 1093"/>
                  <a:gd name="T18" fmla="*/ 522 w 1117"/>
                  <a:gd name="T19" fmla="*/ 482 h 1093"/>
                  <a:gd name="T20" fmla="*/ 449 w 1117"/>
                  <a:gd name="T21" fmla="*/ 540 h 1093"/>
                  <a:gd name="T22" fmla="*/ 367 w 1117"/>
                  <a:gd name="T23" fmla="*/ 586 h 1093"/>
                  <a:gd name="T24" fmla="*/ 276 w 1117"/>
                  <a:gd name="T25" fmla="*/ 614 h 1093"/>
                  <a:gd name="T26" fmla="*/ 178 w 1117"/>
                  <a:gd name="T27" fmla="*/ 623 h 1093"/>
                  <a:gd name="T28" fmla="*/ 74 w 1117"/>
                  <a:gd name="T29" fmla="*/ 612 h 1093"/>
                  <a:gd name="T30" fmla="*/ 0 w 1117"/>
                  <a:gd name="T31" fmla="*/ 727 h 1093"/>
                  <a:gd name="T32" fmla="*/ 178 w 1117"/>
                  <a:gd name="T33" fmla="*/ 753 h 1093"/>
                  <a:gd name="T34" fmla="*/ 193 w 1117"/>
                  <a:gd name="T35" fmla="*/ 921 h 1093"/>
                  <a:gd name="T36" fmla="*/ 145 w 1117"/>
                  <a:gd name="T37" fmla="*/ 951 h 1093"/>
                  <a:gd name="T38" fmla="*/ 128 w 1117"/>
                  <a:gd name="T39" fmla="*/ 1005 h 1093"/>
                  <a:gd name="T40" fmla="*/ 142 w 1117"/>
                  <a:gd name="T41" fmla="*/ 1053 h 1093"/>
                  <a:gd name="T42" fmla="*/ 197 w 1117"/>
                  <a:gd name="T43" fmla="*/ 1091 h 1093"/>
                  <a:gd name="T44" fmla="*/ 249 w 1117"/>
                  <a:gd name="T45" fmla="*/ 1085 h 1093"/>
                  <a:gd name="T46" fmla="*/ 295 w 1117"/>
                  <a:gd name="T47" fmla="*/ 1039 h 1093"/>
                  <a:gd name="T48" fmla="*/ 301 w 1117"/>
                  <a:gd name="T49" fmla="*/ 990 h 1093"/>
                  <a:gd name="T50" fmla="*/ 274 w 1117"/>
                  <a:gd name="T51" fmla="*/ 942 h 1093"/>
                  <a:gd name="T52" fmla="*/ 237 w 1117"/>
                  <a:gd name="T53" fmla="*/ 749 h 1093"/>
                  <a:gd name="T54" fmla="*/ 377 w 1117"/>
                  <a:gd name="T55" fmla="*/ 721 h 1093"/>
                  <a:gd name="T56" fmla="*/ 539 w 1117"/>
                  <a:gd name="T57" fmla="*/ 636 h 1093"/>
                  <a:gd name="T58" fmla="*/ 670 w 1117"/>
                  <a:gd name="T59" fmla="*/ 508 h 1093"/>
                  <a:gd name="T60" fmla="*/ 756 w 1117"/>
                  <a:gd name="T61" fmla="*/ 346 h 1093"/>
                  <a:gd name="T62" fmla="*/ 950 w 1117"/>
                  <a:gd name="T63" fmla="*/ 316 h 1093"/>
                  <a:gd name="T64" fmla="*/ 988 w 1117"/>
                  <a:gd name="T65" fmla="*/ 356 h 1093"/>
                  <a:gd name="T66" fmla="*/ 1030 w 1117"/>
                  <a:gd name="T67" fmla="*/ 367 h 1093"/>
                  <a:gd name="T68" fmla="*/ 1092 w 1117"/>
                  <a:gd name="T69" fmla="*/ 341 h 1093"/>
                  <a:gd name="T70" fmla="*/ 1117 w 1117"/>
                  <a:gd name="T71" fmla="*/ 280 h 1093"/>
                  <a:gd name="T72" fmla="*/ 1103 w 1117"/>
                  <a:gd name="T73" fmla="*/ 231 h 1093"/>
                  <a:gd name="T74" fmla="*/ 1048 w 1117"/>
                  <a:gd name="T75" fmla="*/ 193 h 1093"/>
                  <a:gd name="T76" fmla="*/ 257 w 1117"/>
                  <a:gd name="T77" fmla="*/ 1005 h 1093"/>
                  <a:gd name="T78" fmla="*/ 245 w 1117"/>
                  <a:gd name="T79" fmla="*/ 1035 h 1093"/>
                  <a:gd name="T80" fmla="*/ 215 w 1117"/>
                  <a:gd name="T81" fmla="*/ 1047 h 1093"/>
                  <a:gd name="T82" fmla="*/ 191 w 1117"/>
                  <a:gd name="T83" fmla="*/ 1039 h 1093"/>
                  <a:gd name="T84" fmla="*/ 174 w 1117"/>
                  <a:gd name="T85" fmla="*/ 1012 h 1093"/>
                  <a:gd name="T86" fmla="*/ 175 w 1117"/>
                  <a:gd name="T87" fmla="*/ 989 h 1093"/>
                  <a:gd name="T88" fmla="*/ 199 w 1117"/>
                  <a:gd name="T89" fmla="*/ 965 h 1093"/>
                  <a:gd name="T90" fmla="*/ 222 w 1117"/>
                  <a:gd name="T91" fmla="*/ 964 h 1093"/>
                  <a:gd name="T92" fmla="*/ 249 w 1117"/>
                  <a:gd name="T93" fmla="*/ 981 h 1093"/>
                  <a:gd name="T94" fmla="*/ 257 w 1117"/>
                  <a:gd name="T95" fmla="*/ 1005 h 1093"/>
                  <a:gd name="T96" fmla="*/ 1013 w 1117"/>
                  <a:gd name="T97" fmla="*/ 318 h 1093"/>
                  <a:gd name="T98" fmla="*/ 991 w 1117"/>
                  <a:gd name="T99" fmla="*/ 296 h 1093"/>
                  <a:gd name="T100" fmla="*/ 988 w 1117"/>
                  <a:gd name="T101" fmla="*/ 271 h 1093"/>
                  <a:gd name="T102" fmla="*/ 1007 w 1117"/>
                  <a:gd name="T103" fmla="*/ 245 h 1093"/>
                  <a:gd name="T104" fmla="*/ 1030 w 1117"/>
                  <a:gd name="T105" fmla="*/ 237 h 1093"/>
                  <a:gd name="T106" fmla="*/ 1059 w 1117"/>
                  <a:gd name="T107" fmla="*/ 250 h 1093"/>
                  <a:gd name="T108" fmla="*/ 1071 w 1117"/>
                  <a:gd name="T109" fmla="*/ 280 h 1093"/>
                  <a:gd name="T110" fmla="*/ 1065 w 1117"/>
                  <a:gd name="T111" fmla="*/ 304 h 1093"/>
                  <a:gd name="T112" fmla="*/ 1038 w 1117"/>
                  <a:gd name="T113" fmla="*/ 321 h 10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117" h="1093">
                    <a:moveTo>
                      <a:pt x="1030" y="192"/>
                    </a:moveTo>
                    <a:lnTo>
                      <a:pt x="1030" y="192"/>
                    </a:lnTo>
                    <a:lnTo>
                      <a:pt x="1015" y="193"/>
                    </a:lnTo>
                    <a:lnTo>
                      <a:pt x="1000" y="196"/>
                    </a:lnTo>
                    <a:lnTo>
                      <a:pt x="988" y="203"/>
                    </a:lnTo>
                    <a:lnTo>
                      <a:pt x="977" y="211"/>
                    </a:lnTo>
                    <a:lnTo>
                      <a:pt x="966" y="220"/>
                    </a:lnTo>
                    <a:lnTo>
                      <a:pt x="956" y="231"/>
                    </a:lnTo>
                    <a:lnTo>
                      <a:pt x="950" y="244"/>
                    </a:lnTo>
                    <a:lnTo>
                      <a:pt x="945" y="256"/>
                    </a:lnTo>
                    <a:lnTo>
                      <a:pt x="782" y="256"/>
                    </a:lnTo>
                    <a:lnTo>
                      <a:pt x="782" y="256"/>
                    </a:lnTo>
                    <a:lnTo>
                      <a:pt x="786" y="228"/>
                    </a:lnTo>
                    <a:lnTo>
                      <a:pt x="791" y="198"/>
                    </a:lnTo>
                    <a:lnTo>
                      <a:pt x="793" y="168"/>
                    </a:lnTo>
                    <a:lnTo>
                      <a:pt x="794" y="137"/>
                    </a:lnTo>
                    <a:lnTo>
                      <a:pt x="794" y="137"/>
                    </a:lnTo>
                    <a:lnTo>
                      <a:pt x="793" y="94"/>
                    </a:lnTo>
                    <a:lnTo>
                      <a:pt x="788" y="50"/>
                    </a:lnTo>
                    <a:lnTo>
                      <a:pt x="706" y="0"/>
                    </a:lnTo>
                    <a:lnTo>
                      <a:pt x="663" y="104"/>
                    </a:lnTo>
                    <a:lnTo>
                      <a:pt x="663" y="104"/>
                    </a:lnTo>
                    <a:lnTo>
                      <a:pt x="663" y="137"/>
                    </a:lnTo>
                    <a:lnTo>
                      <a:pt x="663" y="137"/>
                    </a:lnTo>
                    <a:lnTo>
                      <a:pt x="663" y="162"/>
                    </a:lnTo>
                    <a:lnTo>
                      <a:pt x="662" y="187"/>
                    </a:lnTo>
                    <a:lnTo>
                      <a:pt x="659" y="211"/>
                    </a:lnTo>
                    <a:lnTo>
                      <a:pt x="654" y="236"/>
                    </a:lnTo>
                    <a:lnTo>
                      <a:pt x="649" y="259"/>
                    </a:lnTo>
                    <a:lnTo>
                      <a:pt x="643" y="282"/>
                    </a:lnTo>
                    <a:lnTo>
                      <a:pt x="635" y="305"/>
                    </a:lnTo>
                    <a:lnTo>
                      <a:pt x="626" y="327"/>
                    </a:lnTo>
                    <a:lnTo>
                      <a:pt x="616" y="348"/>
                    </a:lnTo>
                    <a:lnTo>
                      <a:pt x="605" y="370"/>
                    </a:lnTo>
                    <a:lnTo>
                      <a:pt x="594" y="389"/>
                    </a:lnTo>
                    <a:lnTo>
                      <a:pt x="582" y="409"/>
                    </a:lnTo>
                    <a:lnTo>
                      <a:pt x="567" y="428"/>
                    </a:lnTo>
                    <a:lnTo>
                      <a:pt x="553" y="447"/>
                    </a:lnTo>
                    <a:lnTo>
                      <a:pt x="537" y="464"/>
                    </a:lnTo>
                    <a:lnTo>
                      <a:pt x="522" y="482"/>
                    </a:lnTo>
                    <a:lnTo>
                      <a:pt x="504" y="497"/>
                    </a:lnTo>
                    <a:lnTo>
                      <a:pt x="487" y="512"/>
                    </a:lnTo>
                    <a:lnTo>
                      <a:pt x="468" y="527"/>
                    </a:lnTo>
                    <a:lnTo>
                      <a:pt x="449" y="540"/>
                    </a:lnTo>
                    <a:lnTo>
                      <a:pt x="430" y="552"/>
                    </a:lnTo>
                    <a:lnTo>
                      <a:pt x="410" y="565"/>
                    </a:lnTo>
                    <a:lnTo>
                      <a:pt x="389" y="576"/>
                    </a:lnTo>
                    <a:lnTo>
                      <a:pt x="367" y="586"/>
                    </a:lnTo>
                    <a:lnTo>
                      <a:pt x="345" y="593"/>
                    </a:lnTo>
                    <a:lnTo>
                      <a:pt x="323" y="601"/>
                    </a:lnTo>
                    <a:lnTo>
                      <a:pt x="300" y="608"/>
                    </a:lnTo>
                    <a:lnTo>
                      <a:pt x="276" y="614"/>
                    </a:lnTo>
                    <a:lnTo>
                      <a:pt x="252" y="617"/>
                    </a:lnTo>
                    <a:lnTo>
                      <a:pt x="227" y="620"/>
                    </a:lnTo>
                    <a:lnTo>
                      <a:pt x="204" y="623"/>
                    </a:lnTo>
                    <a:lnTo>
                      <a:pt x="178" y="623"/>
                    </a:lnTo>
                    <a:lnTo>
                      <a:pt x="178" y="623"/>
                    </a:lnTo>
                    <a:lnTo>
                      <a:pt x="144" y="622"/>
                    </a:lnTo>
                    <a:lnTo>
                      <a:pt x="109" y="619"/>
                    </a:lnTo>
                    <a:lnTo>
                      <a:pt x="74" y="612"/>
                    </a:lnTo>
                    <a:lnTo>
                      <a:pt x="43" y="604"/>
                    </a:lnTo>
                    <a:lnTo>
                      <a:pt x="95" y="686"/>
                    </a:lnTo>
                    <a:lnTo>
                      <a:pt x="0" y="727"/>
                    </a:lnTo>
                    <a:lnTo>
                      <a:pt x="0" y="727"/>
                    </a:lnTo>
                    <a:lnTo>
                      <a:pt x="43" y="738"/>
                    </a:lnTo>
                    <a:lnTo>
                      <a:pt x="87" y="746"/>
                    </a:lnTo>
                    <a:lnTo>
                      <a:pt x="133" y="751"/>
                    </a:lnTo>
                    <a:lnTo>
                      <a:pt x="178" y="753"/>
                    </a:lnTo>
                    <a:lnTo>
                      <a:pt x="178" y="753"/>
                    </a:lnTo>
                    <a:lnTo>
                      <a:pt x="193" y="753"/>
                    </a:lnTo>
                    <a:lnTo>
                      <a:pt x="193" y="921"/>
                    </a:lnTo>
                    <a:lnTo>
                      <a:pt x="193" y="921"/>
                    </a:lnTo>
                    <a:lnTo>
                      <a:pt x="178" y="926"/>
                    </a:lnTo>
                    <a:lnTo>
                      <a:pt x="166" y="932"/>
                    </a:lnTo>
                    <a:lnTo>
                      <a:pt x="155" y="942"/>
                    </a:lnTo>
                    <a:lnTo>
                      <a:pt x="145" y="951"/>
                    </a:lnTo>
                    <a:lnTo>
                      <a:pt x="137" y="964"/>
                    </a:lnTo>
                    <a:lnTo>
                      <a:pt x="133" y="976"/>
                    </a:lnTo>
                    <a:lnTo>
                      <a:pt x="128" y="990"/>
                    </a:lnTo>
                    <a:lnTo>
                      <a:pt x="128" y="1005"/>
                    </a:lnTo>
                    <a:lnTo>
                      <a:pt x="128" y="1005"/>
                    </a:lnTo>
                    <a:lnTo>
                      <a:pt x="130" y="1022"/>
                    </a:lnTo>
                    <a:lnTo>
                      <a:pt x="134" y="1039"/>
                    </a:lnTo>
                    <a:lnTo>
                      <a:pt x="142" y="1053"/>
                    </a:lnTo>
                    <a:lnTo>
                      <a:pt x="153" y="1066"/>
                    </a:lnTo>
                    <a:lnTo>
                      <a:pt x="166" y="1077"/>
                    </a:lnTo>
                    <a:lnTo>
                      <a:pt x="180" y="1085"/>
                    </a:lnTo>
                    <a:lnTo>
                      <a:pt x="197" y="1091"/>
                    </a:lnTo>
                    <a:lnTo>
                      <a:pt x="215" y="1093"/>
                    </a:lnTo>
                    <a:lnTo>
                      <a:pt x="215" y="1093"/>
                    </a:lnTo>
                    <a:lnTo>
                      <a:pt x="232" y="1091"/>
                    </a:lnTo>
                    <a:lnTo>
                      <a:pt x="249" y="1085"/>
                    </a:lnTo>
                    <a:lnTo>
                      <a:pt x="263" y="1077"/>
                    </a:lnTo>
                    <a:lnTo>
                      <a:pt x="276" y="1066"/>
                    </a:lnTo>
                    <a:lnTo>
                      <a:pt x="287" y="1053"/>
                    </a:lnTo>
                    <a:lnTo>
                      <a:pt x="295" y="1039"/>
                    </a:lnTo>
                    <a:lnTo>
                      <a:pt x="300" y="1022"/>
                    </a:lnTo>
                    <a:lnTo>
                      <a:pt x="303" y="1005"/>
                    </a:lnTo>
                    <a:lnTo>
                      <a:pt x="303" y="1005"/>
                    </a:lnTo>
                    <a:lnTo>
                      <a:pt x="301" y="990"/>
                    </a:lnTo>
                    <a:lnTo>
                      <a:pt x="297" y="976"/>
                    </a:lnTo>
                    <a:lnTo>
                      <a:pt x="292" y="964"/>
                    </a:lnTo>
                    <a:lnTo>
                      <a:pt x="284" y="951"/>
                    </a:lnTo>
                    <a:lnTo>
                      <a:pt x="274" y="942"/>
                    </a:lnTo>
                    <a:lnTo>
                      <a:pt x="263" y="932"/>
                    </a:lnTo>
                    <a:lnTo>
                      <a:pt x="251" y="926"/>
                    </a:lnTo>
                    <a:lnTo>
                      <a:pt x="237" y="921"/>
                    </a:lnTo>
                    <a:lnTo>
                      <a:pt x="237" y="749"/>
                    </a:lnTo>
                    <a:lnTo>
                      <a:pt x="237" y="749"/>
                    </a:lnTo>
                    <a:lnTo>
                      <a:pt x="285" y="743"/>
                    </a:lnTo>
                    <a:lnTo>
                      <a:pt x="331" y="734"/>
                    </a:lnTo>
                    <a:lnTo>
                      <a:pt x="377" y="721"/>
                    </a:lnTo>
                    <a:lnTo>
                      <a:pt x="419" y="704"/>
                    </a:lnTo>
                    <a:lnTo>
                      <a:pt x="462" y="683"/>
                    </a:lnTo>
                    <a:lnTo>
                      <a:pt x="501" y="661"/>
                    </a:lnTo>
                    <a:lnTo>
                      <a:pt x="539" y="636"/>
                    </a:lnTo>
                    <a:lnTo>
                      <a:pt x="575" y="608"/>
                    </a:lnTo>
                    <a:lnTo>
                      <a:pt x="608" y="576"/>
                    </a:lnTo>
                    <a:lnTo>
                      <a:pt x="640" y="543"/>
                    </a:lnTo>
                    <a:lnTo>
                      <a:pt x="670" y="508"/>
                    </a:lnTo>
                    <a:lnTo>
                      <a:pt x="695" y="471"/>
                    </a:lnTo>
                    <a:lnTo>
                      <a:pt x="719" y="431"/>
                    </a:lnTo>
                    <a:lnTo>
                      <a:pt x="739" y="390"/>
                    </a:lnTo>
                    <a:lnTo>
                      <a:pt x="756" y="346"/>
                    </a:lnTo>
                    <a:lnTo>
                      <a:pt x="771" y="302"/>
                    </a:lnTo>
                    <a:lnTo>
                      <a:pt x="945" y="302"/>
                    </a:lnTo>
                    <a:lnTo>
                      <a:pt x="945" y="302"/>
                    </a:lnTo>
                    <a:lnTo>
                      <a:pt x="950" y="316"/>
                    </a:lnTo>
                    <a:lnTo>
                      <a:pt x="956" y="329"/>
                    </a:lnTo>
                    <a:lnTo>
                      <a:pt x="966" y="340"/>
                    </a:lnTo>
                    <a:lnTo>
                      <a:pt x="977" y="349"/>
                    </a:lnTo>
                    <a:lnTo>
                      <a:pt x="988" y="356"/>
                    </a:lnTo>
                    <a:lnTo>
                      <a:pt x="1000" y="362"/>
                    </a:lnTo>
                    <a:lnTo>
                      <a:pt x="1015" y="365"/>
                    </a:lnTo>
                    <a:lnTo>
                      <a:pt x="1030" y="367"/>
                    </a:lnTo>
                    <a:lnTo>
                      <a:pt x="1030" y="367"/>
                    </a:lnTo>
                    <a:lnTo>
                      <a:pt x="1048" y="365"/>
                    </a:lnTo>
                    <a:lnTo>
                      <a:pt x="1063" y="360"/>
                    </a:lnTo>
                    <a:lnTo>
                      <a:pt x="1079" y="352"/>
                    </a:lnTo>
                    <a:lnTo>
                      <a:pt x="1092" y="341"/>
                    </a:lnTo>
                    <a:lnTo>
                      <a:pt x="1103" y="329"/>
                    </a:lnTo>
                    <a:lnTo>
                      <a:pt x="1111" y="313"/>
                    </a:lnTo>
                    <a:lnTo>
                      <a:pt x="1115" y="297"/>
                    </a:lnTo>
                    <a:lnTo>
                      <a:pt x="1117" y="280"/>
                    </a:lnTo>
                    <a:lnTo>
                      <a:pt x="1117" y="280"/>
                    </a:lnTo>
                    <a:lnTo>
                      <a:pt x="1115" y="263"/>
                    </a:lnTo>
                    <a:lnTo>
                      <a:pt x="1111" y="245"/>
                    </a:lnTo>
                    <a:lnTo>
                      <a:pt x="1103" y="231"/>
                    </a:lnTo>
                    <a:lnTo>
                      <a:pt x="1092" y="217"/>
                    </a:lnTo>
                    <a:lnTo>
                      <a:pt x="1079" y="208"/>
                    </a:lnTo>
                    <a:lnTo>
                      <a:pt x="1063" y="200"/>
                    </a:lnTo>
                    <a:lnTo>
                      <a:pt x="1048" y="193"/>
                    </a:lnTo>
                    <a:lnTo>
                      <a:pt x="1030" y="192"/>
                    </a:lnTo>
                    <a:lnTo>
                      <a:pt x="1030" y="192"/>
                    </a:lnTo>
                    <a:close/>
                    <a:moveTo>
                      <a:pt x="257" y="1005"/>
                    </a:moveTo>
                    <a:lnTo>
                      <a:pt x="257" y="1005"/>
                    </a:lnTo>
                    <a:lnTo>
                      <a:pt x="256" y="1012"/>
                    </a:lnTo>
                    <a:lnTo>
                      <a:pt x="254" y="1022"/>
                    </a:lnTo>
                    <a:lnTo>
                      <a:pt x="249" y="1028"/>
                    </a:lnTo>
                    <a:lnTo>
                      <a:pt x="245" y="1035"/>
                    </a:lnTo>
                    <a:lnTo>
                      <a:pt x="238" y="1039"/>
                    </a:lnTo>
                    <a:lnTo>
                      <a:pt x="230" y="1044"/>
                    </a:lnTo>
                    <a:lnTo>
                      <a:pt x="222" y="1046"/>
                    </a:lnTo>
                    <a:lnTo>
                      <a:pt x="215" y="1047"/>
                    </a:lnTo>
                    <a:lnTo>
                      <a:pt x="215" y="1047"/>
                    </a:lnTo>
                    <a:lnTo>
                      <a:pt x="207" y="1046"/>
                    </a:lnTo>
                    <a:lnTo>
                      <a:pt x="199" y="1044"/>
                    </a:lnTo>
                    <a:lnTo>
                      <a:pt x="191" y="1039"/>
                    </a:lnTo>
                    <a:lnTo>
                      <a:pt x="185" y="1035"/>
                    </a:lnTo>
                    <a:lnTo>
                      <a:pt x="180" y="1028"/>
                    </a:lnTo>
                    <a:lnTo>
                      <a:pt x="175" y="1022"/>
                    </a:lnTo>
                    <a:lnTo>
                      <a:pt x="174" y="1012"/>
                    </a:lnTo>
                    <a:lnTo>
                      <a:pt x="172" y="1005"/>
                    </a:lnTo>
                    <a:lnTo>
                      <a:pt x="172" y="1005"/>
                    </a:lnTo>
                    <a:lnTo>
                      <a:pt x="174" y="997"/>
                    </a:lnTo>
                    <a:lnTo>
                      <a:pt x="175" y="989"/>
                    </a:lnTo>
                    <a:lnTo>
                      <a:pt x="180" y="981"/>
                    </a:lnTo>
                    <a:lnTo>
                      <a:pt x="185" y="975"/>
                    </a:lnTo>
                    <a:lnTo>
                      <a:pt x="191" y="970"/>
                    </a:lnTo>
                    <a:lnTo>
                      <a:pt x="199" y="965"/>
                    </a:lnTo>
                    <a:lnTo>
                      <a:pt x="207" y="964"/>
                    </a:lnTo>
                    <a:lnTo>
                      <a:pt x="215" y="962"/>
                    </a:lnTo>
                    <a:lnTo>
                      <a:pt x="215" y="962"/>
                    </a:lnTo>
                    <a:lnTo>
                      <a:pt x="222" y="964"/>
                    </a:lnTo>
                    <a:lnTo>
                      <a:pt x="230" y="965"/>
                    </a:lnTo>
                    <a:lnTo>
                      <a:pt x="238" y="970"/>
                    </a:lnTo>
                    <a:lnTo>
                      <a:pt x="245" y="975"/>
                    </a:lnTo>
                    <a:lnTo>
                      <a:pt x="249" y="981"/>
                    </a:lnTo>
                    <a:lnTo>
                      <a:pt x="254" y="989"/>
                    </a:lnTo>
                    <a:lnTo>
                      <a:pt x="256" y="997"/>
                    </a:lnTo>
                    <a:lnTo>
                      <a:pt x="257" y="1005"/>
                    </a:lnTo>
                    <a:lnTo>
                      <a:pt x="257" y="1005"/>
                    </a:lnTo>
                    <a:close/>
                    <a:moveTo>
                      <a:pt x="1030" y="321"/>
                    </a:moveTo>
                    <a:lnTo>
                      <a:pt x="1030" y="321"/>
                    </a:lnTo>
                    <a:lnTo>
                      <a:pt x="1021" y="321"/>
                    </a:lnTo>
                    <a:lnTo>
                      <a:pt x="1013" y="318"/>
                    </a:lnTo>
                    <a:lnTo>
                      <a:pt x="1007" y="315"/>
                    </a:lnTo>
                    <a:lnTo>
                      <a:pt x="1000" y="310"/>
                    </a:lnTo>
                    <a:lnTo>
                      <a:pt x="994" y="304"/>
                    </a:lnTo>
                    <a:lnTo>
                      <a:pt x="991" y="296"/>
                    </a:lnTo>
                    <a:lnTo>
                      <a:pt x="988" y="288"/>
                    </a:lnTo>
                    <a:lnTo>
                      <a:pt x="988" y="280"/>
                    </a:lnTo>
                    <a:lnTo>
                      <a:pt x="988" y="280"/>
                    </a:lnTo>
                    <a:lnTo>
                      <a:pt x="988" y="271"/>
                    </a:lnTo>
                    <a:lnTo>
                      <a:pt x="991" y="263"/>
                    </a:lnTo>
                    <a:lnTo>
                      <a:pt x="994" y="256"/>
                    </a:lnTo>
                    <a:lnTo>
                      <a:pt x="1000" y="250"/>
                    </a:lnTo>
                    <a:lnTo>
                      <a:pt x="1007" y="245"/>
                    </a:lnTo>
                    <a:lnTo>
                      <a:pt x="1013" y="241"/>
                    </a:lnTo>
                    <a:lnTo>
                      <a:pt x="1021" y="239"/>
                    </a:lnTo>
                    <a:lnTo>
                      <a:pt x="1030" y="237"/>
                    </a:lnTo>
                    <a:lnTo>
                      <a:pt x="1030" y="237"/>
                    </a:lnTo>
                    <a:lnTo>
                      <a:pt x="1038" y="239"/>
                    </a:lnTo>
                    <a:lnTo>
                      <a:pt x="1046" y="241"/>
                    </a:lnTo>
                    <a:lnTo>
                      <a:pt x="1054" y="245"/>
                    </a:lnTo>
                    <a:lnTo>
                      <a:pt x="1059" y="250"/>
                    </a:lnTo>
                    <a:lnTo>
                      <a:pt x="1065" y="256"/>
                    </a:lnTo>
                    <a:lnTo>
                      <a:pt x="1068" y="263"/>
                    </a:lnTo>
                    <a:lnTo>
                      <a:pt x="1071" y="271"/>
                    </a:lnTo>
                    <a:lnTo>
                      <a:pt x="1071" y="280"/>
                    </a:lnTo>
                    <a:lnTo>
                      <a:pt x="1071" y="280"/>
                    </a:lnTo>
                    <a:lnTo>
                      <a:pt x="1071" y="288"/>
                    </a:lnTo>
                    <a:lnTo>
                      <a:pt x="1068" y="296"/>
                    </a:lnTo>
                    <a:lnTo>
                      <a:pt x="1065" y="304"/>
                    </a:lnTo>
                    <a:lnTo>
                      <a:pt x="1059" y="310"/>
                    </a:lnTo>
                    <a:lnTo>
                      <a:pt x="1054" y="315"/>
                    </a:lnTo>
                    <a:lnTo>
                      <a:pt x="1046" y="318"/>
                    </a:lnTo>
                    <a:lnTo>
                      <a:pt x="1038" y="321"/>
                    </a:lnTo>
                    <a:lnTo>
                      <a:pt x="1030" y="321"/>
                    </a:lnTo>
                    <a:lnTo>
                      <a:pt x="1030" y="3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" name="Rechteck 4">
              <a:extLst>
                <a:ext uri="{FF2B5EF4-FFF2-40B4-BE49-F238E27FC236}">
                  <a16:creationId xmlns:a16="http://schemas.microsoft.com/office/drawing/2014/main" id="{6AC9764B-333D-44D5-9014-640DEF32D1DE}"/>
                </a:ext>
              </a:extLst>
            </p:cNvPr>
            <p:cNvSpPr>
              <a:spLocks/>
            </p:cNvSpPr>
            <p:nvPr/>
          </p:nvSpPr>
          <p:spPr bwMode="gray">
            <a:xfrm>
              <a:off x="630640" y="1815634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Permanent Power</a:t>
              </a:r>
            </a:p>
          </p:txBody>
        </p:sp>
        <p:sp>
          <p:nvSpPr>
            <p:cNvPr id="49" name="Rechteck 77">
              <a:extLst>
                <a:ext uri="{FF2B5EF4-FFF2-40B4-BE49-F238E27FC236}">
                  <a16:creationId xmlns:a16="http://schemas.microsoft.com/office/drawing/2014/main" id="{D83A4F91-6D02-4FDA-BA67-6B22C9F03A7F}"/>
                </a:ext>
              </a:extLst>
            </p:cNvPr>
            <p:cNvSpPr>
              <a:spLocks/>
            </p:cNvSpPr>
            <p:nvPr/>
          </p:nvSpPr>
          <p:spPr bwMode="gray">
            <a:xfrm>
              <a:off x="616070" y="2759288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Volatile Power</a:t>
              </a:r>
            </a:p>
          </p:txBody>
        </p:sp>
        <p:sp>
          <p:nvSpPr>
            <p:cNvPr id="50" name="Freihandform 9">
              <a:extLst>
                <a:ext uri="{FF2B5EF4-FFF2-40B4-BE49-F238E27FC236}">
                  <a16:creationId xmlns:a16="http://schemas.microsoft.com/office/drawing/2014/main" id="{7238E850-1EC8-446B-A06C-C8CD032B0111}"/>
                </a:ext>
              </a:extLst>
            </p:cNvPr>
            <p:cNvSpPr/>
            <p:nvPr/>
          </p:nvSpPr>
          <p:spPr bwMode="gray">
            <a:xfrm rot="20239983">
              <a:off x="3221731" y="264614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1" name="Freeform 60">
              <a:extLst>
                <a:ext uri="{FF2B5EF4-FFF2-40B4-BE49-F238E27FC236}">
                  <a16:creationId xmlns:a16="http://schemas.microsoft.com/office/drawing/2014/main" id="{034C0B60-6961-455E-836F-97EE14E65287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3522159" y="2765423"/>
              <a:ext cx="408267" cy="628372"/>
            </a:xfrm>
            <a:custGeom>
              <a:avLst/>
              <a:gdLst>
                <a:gd name="T0" fmla="*/ 465 w 1419"/>
                <a:gd name="T1" fmla="*/ 819 h 2084"/>
                <a:gd name="T2" fmla="*/ 524 w 1419"/>
                <a:gd name="T3" fmla="*/ 879 h 2084"/>
                <a:gd name="T4" fmla="*/ 584 w 1419"/>
                <a:gd name="T5" fmla="*/ 819 h 2084"/>
                <a:gd name="T6" fmla="*/ 524 w 1419"/>
                <a:gd name="T7" fmla="*/ 760 h 2084"/>
                <a:gd name="T8" fmla="*/ 465 w 1419"/>
                <a:gd name="T9" fmla="*/ 819 h 2084"/>
                <a:gd name="T10" fmla="*/ 558 w 1419"/>
                <a:gd name="T11" fmla="*/ 900 h 2084"/>
                <a:gd name="T12" fmla="*/ 610 w 1419"/>
                <a:gd name="T13" fmla="*/ 2084 h 2084"/>
                <a:gd name="T14" fmla="*/ 524 w 1419"/>
                <a:gd name="T15" fmla="*/ 2084 h 2084"/>
                <a:gd name="T16" fmla="*/ 439 w 1419"/>
                <a:gd name="T17" fmla="*/ 2084 h 2084"/>
                <a:gd name="T18" fmla="*/ 481 w 1419"/>
                <a:gd name="T19" fmla="*/ 1117 h 2084"/>
                <a:gd name="T20" fmla="*/ 34 w 1419"/>
                <a:gd name="T21" fmla="*/ 1546 h 2084"/>
                <a:gd name="T22" fmla="*/ 0 w 1419"/>
                <a:gd name="T23" fmla="*/ 1550 h 2084"/>
                <a:gd name="T24" fmla="*/ 459 w 1419"/>
                <a:gd name="T25" fmla="*/ 878 h 2084"/>
                <a:gd name="T26" fmla="*/ 437 w 1419"/>
                <a:gd name="T27" fmla="*/ 819 h 2084"/>
                <a:gd name="T28" fmla="*/ 444 w 1419"/>
                <a:gd name="T29" fmla="*/ 784 h 2084"/>
                <a:gd name="T30" fmla="*/ 298 w 1419"/>
                <a:gd name="T31" fmla="*/ 673 h 2084"/>
                <a:gd name="T32" fmla="*/ 141 w 1419"/>
                <a:gd name="T33" fmla="*/ 32 h 2084"/>
                <a:gd name="T34" fmla="*/ 154 w 1419"/>
                <a:gd name="T35" fmla="*/ 0 h 2084"/>
                <a:gd name="T36" fmla="*/ 507 w 1419"/>
                <a:gd name="T37" fmla="*/ 734 h 2084"/>
                <a:gd name="T38" fmla="*/ 524 w 1419"/>
                <a:gd name="T39" fmla="*/ 732 h 2084"/>
                <a:gd name="T40" fmla="*/ 595 w 1419"/>
                <a:gd name="T41" fmla="*/ 768 h 2084"/>
                <a:gd name="T42" fmla="*/ 764 w 1419"/>
                <a:gd name="T43" fmla="*/ 697 h 2084"/>
                <a:gd name="T44" fmla="*/ 1398 w 1419"/>
                <a:gd name="T45" fmla="*/ 881 h 2084"/>
                <a:gd name="T46" fmla="*/ 1419 w 1419"/>
                <a:gd name="T47" fmla="*/ 908 h 2084"/>
                <a:gd name="T48" fmla="*/ 607 w 1419"/>
                <a:gd name="T49" fmla="*/ 847 h 2084"/>
                <a:gd name="T50" fmla="*/ 558 w 1419"/>
                <a:gd name="T51" fmla="*/ 900 h 20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19" h="2084">
                  <a:moveTo>
                    <a:pt x="465" y="819"/>
                  </a:moveTo>
                  <a:cubicBezTo>
                    <a:pt x="465" y="852"/>
                    <a:pt x="492" y="879"/>
                    <a:pt x="524" y="879"/>
                  </a:cubicBezTo>
                  <a:cubicBezTo>
                    <a:pt x="557" y="879"/>
                    <a:pt x="584" y="852"/>
                    <a:pt x="584" y="819"/>
                  </a:cubicBezTo>
                  <a:cubicBezTo>
                    <a:pt x="584" y="787"/>
                    <a:pt x="557" y="760"/>
                    <a:pt x="524" y="760"/>
                  </a:cubicBezTo>
                  <a:cubicBezTo>
                    <a:pt x="492" y="760"/>
                    <a:pt x="465" y="787"/>
                    <a:pt x="465" y="819"/>
                  </a:cubicBezTo>
                  <a:close/>
                  <a:moveTo>
                    <a:pt x="558" y="900"/>
                  </a:moveTo>
                  <a:cubicBezTo>
                    <a:pt x="610" y="2084"/>
                    <a:pt x="610" y="2084"/>
                    <a:pt x="610" y="2084"/>
                  </a:cubicBezTo>
                  <a:cubicBezTo>
                    <a:pt x="524" y="2084"/>
                    <a:pt x="524" y="2084"/>
                    <a:pt x="524" y="2084"/>
                  </a:cubicBezTo>
                  <a:cubicBezTo>
                    <a:pt x="439" y="2084"/>
                    <a:pt x="439" y="2084"/>
                    <a:pt x="439" y="2084"/>
                  </a:cubicBezTo>
                  <a:cubicBezTo>
                    <a:pt x="481" y="1117"/>
                    <a:pt x="481" y="1117"/>
                    <a:pt x="481" y="1117"/>
                  </a:cubicBezTo>
                  <a:cubicBezTo>
                    <a:pt x="34" y="1546"/>
                    <a:pt x="34" y="1546"/>
                    <a:pt x="34" y="1546"/>
                  </a:cubicBezTo>
                  <a:cubicBezTo>
                    <a:pt x="0" y="1550"/>
                    <a:pt x="0" y="1550"/>
                    <a:pt x="0" y="1550"/>
                  </a:cubicBezTo>
                  <a:cubicBezTo>
                    <a:pt x="459" y="878"/>
                    <a:pt x="459" y="878"/>
                    <a:pt x="459" y="878"/>
                  </a:cubicBezTo>
                  <a:cubicBezTo>
                    <a:pt x="445" y="862"/>
                    <a:pt x="437" y="842"/>
                    <a:pt x="437" y="819"/>
                  </a:cubicBezTo>
                  <a:cubicBezTo>
                    <a:pt x="437" y="807"/>
                    <a:pt x="439" y="795"/>
                    <a:pt x="444" y="784"/>
                  </a:cubicBezTo>
                  <a:cubicBezTo>
                    <a:pt x="298" y="673"/>
                    <a:pt x="298" y="673"/>
                    <a:pt x="298" y="673"/>
                  </a:cubicBezTo>
                  <a:cubicBezTo>
                    <a:pt x="141" y="32"/>
                    <a:pt x="141" y="32"/>
                    <a:pt x="141" y="32"/>
                  </a:cubicBezTo>
                  <a:cubicBezTo>
                    <a:pt x="154" y="0"/>
                    <a:pt x="154" y="0"/>
                    <a:pt x="154" y="0"/>
                  </a:cubicBezTo>
                  <a:cubicBezTo>
                    <a:pt x="507" y="734"/>
                    <a:pt x="507" y="734"/>
                    <a:pt x="507" y="734"/>
                  </a:cubicBezTo>
                  <a:cubicBezTo>
                    <a:pt x="512" y="733"/>
                    <a:pt x="518" y="732"/>
                    <a:pt x="524" y="732"/>
                  </a:cubicBezTo>
                  <a:cubicBezTo>
                    <a:pt x="553" y="732"/>
                    <a:pt x="579" y="746"/>
                    <a:pt x="595" y="768"/>
                  </a:cubicBezTo>
                  <a:cubicBezTo>
                    <a:pt x="764" y="697"/>
                    <a:pt x="764" y="697"/>
                    <a:pt x="764" y="697"/>
                  </a:cubicBezTo>
                  <a:cubicBezTo>
                    <a:pt x="1398" y="881"/>
                    <a:pt x="1398" y="881"/>
                    <a:pt x="1398" y="881"/>
                  </a:cubicBezTo>
                  <a:cubicBezTo>
                    <a:pt x="1419" y="908"/>
                    <a:pt x="1419" y="908"/>
                    <a:pt x="1419" y="908"/>
                  </a:cubicBezTo>
                  <a:cubicBezTo>
                    <a:pt x="607" y="847"/>
                    <a:pt x="607" y="847"/>
                    <a:pt x="607" y="847"/>
                  </a:cubicBezTo>
                  <a:cubicBezTo>
                    <a:pt x="599" y="871"/>
                    <a:pt x="581" y="890"/>
                    <a:pt x="558" y="900"/>
                  </a:cubicBez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ihandform 13">
              <a:extLst>
                <a:ext uri="{FF2B5EF4-FFF2-40B4-BE49-F238E27FC236}">
                  <a16:creationId xmlns:a16="http://schemas.microsoft.com/office/drawing/2014/main" id="{CB0E0B77-3139-4CA8-9EC1-870BB923828F}"/>
                </a:ext>
              </a:extLst>
            </p:cNvPr>
            <p:cNvSpPr/>
            <p:nvPr/>
          </p:nvSpPr>
          <p:spPr bwMode="gray">
            <a:xfrm rot="20239983">
              <a:off x="4200064" y="1652809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8615D3A8-F7BF-47B5-925F-D371990E6133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4333415" y="1821450"/>
              <a:ext cx="543403" cy="554657"/>
            </a:xfrm>
            <a:custGeom>
              <a:avLst/>
              <a:gdLst>
                <a:gd name="T0" fmla="*/ 1758 w 1758"/>
                <a:gd name="T1" fmla="*/ 0 h 1711"/>
                <a:gd name="T2" fmla="*/ 902 w 1758"/>
                <a:gd name="T3" fmla="*/ 1398 h 1711"/>
                <a:gd name="T4" fmla="*/ 929 w 1758"/>
                <a:gd name="T5" fmla="*/ 1286 h 1711"/>
                <a:gd name="T6" fmla="*/ 904 w 1758"/>
                <a:gd name="T7" fmla="*/ 1117 h 1711"/>
                <a:gd name="T8" fmla="*/ 823 w 1758"/>
                <a:gd name="T9" fmla="*/ 968 h 1711"/>
                <a:gd name="T10" fmla="*/ 696 w 1758"/>
                <a:gd name="T11" fmla="*/ 855 h 1711"/>
                <a:gd name="T12" fmla="*/ 584 w 1758"/>
                <a:gd name="T13" fmla="*/ 504 h 1711"/>
                <a:gd name="T14" fmla="*/ 932 w 1758"/>
                <a:gd name="T15" fmla="*/ 504 h 1711"/>
                <a:gd name="T16" fmla="*/ 1279 w 1758"/>
                <a:gd name="T17" fmla="*/ 504 h 1711"/>
                <a:gd name="T18" fmla="*/ 1626 w 1758"/>
                <a:gd name="T19" fmla="*/ 0 h 1711"/>
                <a:gd name="T20" fmla="*/ 725 w 1758"/>
                <a:gd name="T21" fmla="*/ 1025 h 1711"/>
                <a:gd name="T22" fmla="*/ 657 w 1758"/>
                <a:gd name="T23" fmla="*/ 1152 h 1711"/>
                <a:gd name="T24" fmla="*/ 671 w 1758"/>
                <a:gd name="T25" fmla="*/ 1183 h 1711"/>
                <a:gd name="T26" fmla="*/ 879 w 1758"/>
                <a:gd name="T27" fmla="*/ 1236 h 1711"/>
                <a:gd name="T28" fmla="*/ 673 w 1758"/>
                <a:gd name="T29" fmla="*/ 1187 h 1711"/>
                <a:gd name="T30" fmla="*/ 688 w 1758"/>
                <a:gd name="T31" fmla="*/ 1268 h 1711"/>
                <a:gd name="T32" fmla="*/ 864 w 1758"/>
                <a:gd name="T33" fmla="*/ 1389 h 1711"/>
                <a:gd name="T34" fmla="*/ 688 w 1758"/>
                <a:gd name="T35" fmla="*/ 1268 h 1711"/>
                <a:gd name="T36" fmla="*/ 796 w 1758"/>
                <a:gd name="T37" fmla="*/ 1396 h 1711"/>
                <a:gd name="T38" fmla="*/ 652 w 1758"/>
                <a:gd name="T39" fmla="*/ 1401 h 1711"/>
                <a:gd name="T40" fmla="*/ 633 w 1758"/>
                <a:gd name="T41" fmla="*/ 1429 h 1711"/>
                <a:gd name="T42" fmla="*/ 690 w 1758"/>
                <a:gd name="T43" fmla="*/ 1635 h 1711"/>
                <a:gd name="T44" fmla="*/ 633 w 1758"/>
                <a:gd name="T45" fmla="*/ 1429 h 1711"/>
                <a:gd name="T46" fmla="*/ 633 w 1758"/>
                <a:gd name="T47" fmla="*/ 1596 h 1711"/>
                <a:gd name="T48" fmla="*/ 520 w 1758"/>
                <a:gd name="T49" fmla="*/ 1508 h 1711"/>
                <a:gd name="T50" fmla="*/ 487 w 1758"/>
                <a:gd name="T51" fmla="*/ 1516 h 1711"/>
                <a:gd name="T52" fmla="*/ 399 w 1758"/>
                <a:gd name="T53" fmla="*/ 1711 h 1711"/>
                <a:gd name="T54" fmla="*/ 487 w 1758"/>
                <a:gd name="T55" fmla="*/ 1516 h 1711"/>
                <a:gd name="T56" fmla="*/ 380 w 1758"/>
                <a:gd name="T57" fmla="*/ 1645 h 1711"/>
                <a:gd name="T58" fmla="*/ 350 w 1758"/>
                <a:gd name="T59" fmla="*/ 1504 h 1711"/>
                <a:gd name="T60" fmla="*/ 319 w 1758"/>
                <a:gd name="T61" fmla="*/ 1490 h 1711"/>
                <a:gd name="T62" fmla="*/ 126 w 1758"/>
                <a:gd name="T63" fmla="*/ 1582 h 1711"/>
                <a:gd name="T64" fmla="*/ 319 w 1758"/>
                <a:gd name="T65" fmla="*/ 1490 h 1711"/>
                <a:gd name="T66" fmla="*/ 154 w 1758"/>
                <a:gd name="T67" fmla="*/ 1519 h 1711"/>
                <a:gd name="T68" fmla="*/ 222 w 1758"/>
                <a:gd name="T69" fmla="*/ 1393 h 1711"/>
                <a:gd name="T70" fmla="*/ 208 w 1758"/>
                <a:gd name="T71" fmla="*/ 1361 h 1711"/>
                <a:gd name="T72" fmla="*/ 0 w 1758"/>
                <a:gd name="T73" fmla="*/ 1308 h 1711"/>
                <a:gd name="T74" fmla="*/ 206 w 1758"/>
                <a:gd name="T75" fmla="*/ 1357 h 1711"/>
                <a:gd name="T76" fmla="*/ 191 w 1758"/>
                <a:gd name="T77" fmla="*/ 1277 h 1711"/>
                <a:gd name="T78" fmla="*/ 15 w 1758"/>
                <a:gd name="T79" fmla="*/ 1156 h 1711"/>
                <a:gd name="T80" fmla="*/ 191 w 1758"/>
                <a:gd name="T81" fmla="*/ 1277 h 1711"/>
                <a:gd name="T82" fmla="*/ 83 w 1758"/>
                <a:gd name="T83" fmla="*/ 1149 h 1711"/>
                <a:gd name="T84" fmla="*/ 226 w 1758"/>
                <a:gd name="T85" fmla="*/ 1144 h 1711"/>
                <a:gd name="T86" fmla="*/ 246 w 1758"/>
                <a:gd name="T87" fmla="*/ 1116 h 1711"/>
                <a:gd name="T88" fmla="*/ 189 w 1758"/>
                <a:gd name="T89" fmla="*/ 910 h 1711"/>
                <a:gd name="T90" fmla="*/ 246 w 1758"/>
                <a:gd name="T91" fmla="*/ 1116 h 1711"/>
                <a:gd name="T92" fmla="*/ 246 w 1758"/>
                <a:gd name="T93" fmla="*/ 948 h 1711"/>
                <a:gd name="T94" fmla="*/ 359 w 1758"/>
                <a:gd name="T95" fmla="*/ 1037 h 1711"/>
                <a:gd name="T96" fmla="*/ 392 w 1758"/>
                <a:gd name="T97" fmla="*/ 1028 h 1711"/>
                <a:gd name="T98" fmla="*/ 480 w 1758"/>
                <a:gd name="T99" fmla="*/ 834 h 1711"/>
                <a:gd name="T100" fmla="*/ 392 w 1758"/>
                <a:gd name="T101" fmla="*/ 1028 h 1711"/>
                <a:gd name="T102" fmla="*/ 499 w 1758"/>
                <a:gd name="T103" fmla="*/ 900 h 1711"/>
                <a:gd name="T104" fmla="*/ 529 w 1758"/>
                <a:gd name="T105" fmla="*/ 1040 h 1711"/>
                <a:gd name="T106" fmla="*/ 640 w 1758"/>
                <a:gd name="T107" fmla="*/ 1199 h 1711"/>
                <a:gd name="T108" fmla="*/ 239 w 1758"/>
                <a:gd name="T109" fmla="*/ 1345 h 1711"/>
                <a:gd name="T110" fmla="*/ 640 w 1758"/>
                <a:gd name="T111" fmla="*/ 1199 h 1711"/>
                <a:gd name="T112" fmla="*/ 623 w 1758"/>
                <a:gd name="T113" fmla="*/ 943 h 1711"/>
                <a:gd name="T114" fmla="*/ 603 w 1758"/>
                <a:gd name="T115" fmla="*/ 1085 h 1711"/>
                <a:gd name="T116" fmla="*/ 1597 w 1758"/>
                <a:gd name="T117" fmla="*/ 1063 h 1711"/>
                <a:gd name="T118" fmla="*/ 1480 w 1758"/>
                <a:gd name="T119" fmla="*/ 770 h 1711"/>
                <a:gd name="T120" fmla="*/ 1480 w 1758"/>
                <a:gd name="T121" fmla="*/ 1092 h 1711"/>
                <a:gd name="T122" fmla="*/ 1597 w 1758"/>
                <a:gd name="T123" fmla="*/ 1063 h 1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58" h="1711">
                  <a:moveTo>
                    <a:pt x="1626" y="0"/>
                  </a:moveTo>
                  <a:cubicBezTo>
                    <a:pt x="1758" y="0"/>
                    <a:pt x="1758" y="0"/>
                    <a:pt x="1758" y="0"/>
                  </a:cubicBezTo>
                  <a:cubicBezTo>
                    <a:pt x="1758" y="1398"/>
                    <a:pt x="1758" y="1398"/>
                    <a:pt x="1758" y="1398"/>
                  </a:cubicBezTo>
                  <a:cubicBezTo>
                    <a:pt x="902" y="1398"/>
                    <a:pt x="902" y="1398"/>
                    <a:pt x="902" y="1398"/>
                  </a:cubicBezTo>
                  <a:cubicBezTo>
                    <a:pt x="904" y="1350"/>
                    <a:pt x="893" y="1310"/>
                    <a:pt x="868" y="1273"/>
                  </a:cubicBezTo>
                  <a:cubicBezTo>
                    <a:pt x="887" y="1276"/>
                    <a:pt x="907" y="1280"/>
                    <a:pt x="929" y="1286"/>
                  </a:cubicBezTo>
                  <a:cubicBezTo>
                    <a:pt x="917" y="1211"/>
                    <a:pt x="890" y="1164"/>
                    <a:pt x="841" y="1127"/>
                  </a:cubicBezTo>
                  <a:cubicBezTo>
                    <a:pt x="860" y="1123"/>
                    <a:pt x="880" y="1120"/>
                    <a:pt x="904" y="1117"/>
                  </a:cubicBezTo>
                  <a:cubicBezTo>
                    <a:pt x="870" y="1055"/>
                    <a:pt x="827" y="1018"/>
                    <a:pt x="767" y="998"/>
                  </a:cubicBezTo>
                  <a:cubicBezTo>
                    <a:pt x="783" y="989"/>
                    <a:pt x="802" y="979"/>
                    <a:pt x="823" y="968"/>
                  </a:cubicBezTo>
                  <a:cubicBezTo>
                    <a:pt x="780" y="926"/>
                    <a:pt x="725" y="900"/>
                    <a:pt x="653" y="903"/>
                  </a:cubicBezTo>
                  <a:cubicBezTo>
                    <a:pt x="665" y="889"/>
                    <a:pt x="679" y="873"/>
                    <a:pt x="696" y="855"/>
                  </a:cubicBezTo>
                  <a:cubicBezTo>
                    <a:pt x="664" y="841"/>
                    <a:pt x="626" y="833"/>
                    <a:pt x="584" y="836"/>
                  </a:cubicBezTo>
                  <a:cubicBezTo>
                    <a:pt x="584" y="504"/>
                    <a:pt x="584" y="504"/>
                    <a:pt x="584" y="504"/>
                  </a:cubicBezTo>
                  <a:cubicBezTo>
                    <a:pt x="932" y="708"/>
                    <a:pt x="932" y="708"/>
                    <a:pt x="932" y="708"/>
                  </a:cubicBezTo>
                  <a:cubicBezTo>
                    <a:pt x="932" y="504"/>
                    <a:pt x="932" y="504"/>
                    <a:pt x="932" y="504"/>
                  </a:cubicBezTo>
                  <a:cubicBezTo>
                    <a:pt x="1279" y="708"/>
                    <a:pt x="1279" y="708"/>
                    <a:pt x="1279" y="708"/>
                  </a:cubicBezTo>
                  <a:cubicBezTo>
                    <a:pt x="1279" y="504"/>
                    <a:pt x="1279" y="504"/>
                    <a:pt x="1279" y="504"/>
                  </a:cubicBezTo>
                  <a:cubicBezTo>
                    <a:pt x="1626" y="708"/>
                    <a:pt x="1626" y="708"/>
                    <a:pt x="1626" y="708"/>
                  </a:cubicBezTo>
                  <a:lnTo>
                    <a:pt x="1626" y="0"/>
                  </a:lnTo>
                  <a:close/>
                  <a:moveTo>
                    <a:pt x="627" y="1109"/>
                  </a:moveTo>
                  <a:cubicBezTo>
                    <a:pt x="664" y="1074"/>
                    <a:pt x="699" y="1042"/>
                    <a:pt x="725" y="1025"/>
                  </a:cubicBezTo>
                  <a:cubicBezTo>
                    <a:pt x="776" y="1034"/>
                    <a:pt x="818" y="1057"/>
                    <a:pt x="840" y="1088"/>
                  </a:cubicBezTo>
                  <a:cubicBezTo>
                    <a:pt x="794" y="1094"/>
                    <a:pt x="721" y="1122"/>
                    <a:pt x="657" y="1152"/>
                  </a:cubicBezTo>
                  <a:cubicBezTo>
                    <a:pt x="649" y="1136"/>
                    <a:pt x="638" y="1122"/>
                    <a:pt x="627" y="1109"/>
                  </a:cubicBezTo>
                  <a:moveTo>
                    <a:pt x="671" y="1183"/>
                  </a:moveTo>
                  <a:cubicBezTo>
                    <a:pt x="718" y="1162"/>
                    <a:pt x="762" y="1145"/>
                    <a:pt x="792" y="1138"/>
                  </a:cubicBezTo>
                  <a:cubicBezTo>
                    <a:pt x="838" y="1163"/>
                    <a:pt x="869" y="1200"/>
                    <a:pt x="879" y="1236"/>
                  </a:cubicBezTo>
                  <a:cubicBezTo>
                    <a:pt x="834" y="1226"/>
                    <a:pt x="755" y="1228"/>
                    <a:pt x="685" y="1234"/>
                  </a:cubicBezTo>
                  <a:cubicBezTo>
                    <a:pt x="683" y="1218"/>
                    <a:pt x="679" y="1203"/>
                    <a:pt x="673" y="1187"/>
                  </a:cubicBezTo>
                  <a:lnTo>
                    <a:pt x="671" y="1183"/>
                  </a:lnTo>
                  <a:close/>
                  <a:moveTo>
                    <a:pt x="688" y="1268"/>
                  </a:moveTo>
                  <a:cubicBezTo>
                    <a:pt x="739" y="1264"/>
                    <a:pt x="786" y="1263"/>
                    <a:pt x="817" y="1266"/>
                  </a:cubicBezTo>
                  <a:cubicBezTo>
                    <a:pt x="851" y="1306"/>
                    <a:pt x="868" y="1351"/>
                    <a:pt x="864" y="1389"/>
                  </a:cubicBezTo>
                  <a:cubicBezTo>
                    <a:pt x="826" y="1364"/>
                    <a:pt x="751" y="1338"/>
                    <a:pt x="683" y="1320"/>
                  </a:cubicBezTo>
                  <a:cubicBezTo>
                    <a:pt x="687" y="1303"/>
                    <a:pt x="688" y="1286"/>
                    <a:pt x="688" y="1268"/>
                  </a:cubicBezTo>
                  <a:moveTo>
                    <a:pt x="675" y="1353"/>
                  </a:moveTo>
                  <a:cubicBezTo>
                    <a:pt x="723" y="1367"/>
                    <a:pt x="769" y="1382"/>
                    <a:pt x="796" y="1396"/>
                  </a:cubicBezTo>
                  <a:cubicBezTo>
                    <a:pt x="814" y="1445"/>
                    <a:pt x="815" y="1493"/>
                    <a:pt x="799" y="1527"/>
                  </a:cubicBezTo>
                  <a:cubicBezTo>
                    <a:pt x="772" y="1490"/>
                    <a:pt x="710" y="1441"/>
                    <a:pt x="652" y="1401"/>
                  </a:cubicBezTo>
                  <a:cubicBezTo>
                    <a:pt x="661" y="1386"/>
                    <a:pt x="669" y="1370"/>
                    <a:pt x="675" y="1353"/>
                  </a:cubicBezTo>
                  <a:moveTo>
                    <a:pt x="633" y="1429"/>
                  </a:moveTo>
                  <a:cubicBezTo>
                    <a:pt x="674" y="1458"/>
                    <a:pt x="711" y="1488"/>
                    <a:pt x="732" y="1510"/>
                  </a:cubicBezTo>
                  <a:cubicBezTo>
                    <a:pt x="733" y="1563"/>
                    <a:pt x="717" y="1608"/>
                    <a:pt x="690" y="1635"/>
                  </a:cubicBezTo>
                  <a:cubicBezTo>
                    <a:pt x="677" y="1591"/>
                    <a:pt x="636" y="1523"/>
                    <a:pt x="596" y="1466"/>
                  </a:cubicBezTo>
                  <a:cubicBezTo>
                    <a:pt x="610" y="1455"/>
                    <a:pt x="622" y="1442"/>
                    <a:pt x="633" y="1429"/>
                  </a:cubicBezTo>
                  <a:moveTo>
                    <a:pt x="568" y="1486"/>
                  </a:moveTo>
                  <a:cubicBezTo>
                    <a:pt x="596" y="1527"/>
                    <a:pt x="621" y="1568"/>
                    <a:pt x="633" y="1596"/>
                  </a:cubicBezTo>
                  <a:cubicBezTo>
                    <a:pt x="616" y="1645"/>
                    <a:pt x="586" y="1683"/>
                    <a:pt x="551" y="1699"/>
                  </a:cubicBezTo>
                  <a:cubicBezTo>
                    <a:pt x="554" y="1653"/>
                    <a:pt x="538" y="1575"/>
                    <a:pt x="520" y="1508"/>
                  </a:cubicBezTo>
                  <a:cubicBezTo>
                    <a:pt x="540" y="1500"/>
                    <a:pt x="554" y="1494"/>
                    <a:pt x="568" y="1486"/>
                  </a:cubicBezTo>
                  <a:moveTo>
                    <a:pt x="487" y="1516"/>
                  </a:moveTo>
                  <a:cubicBezTo>
                    <a:pt x="499" y="1566"/>
                    <a:pt x="509" y="1613"/>
                    <a:pt x="511" y="1643"/>
                  </a:cubicBezTo>
                  <a:cubicBezTo>
                    <a:pt x="478" y="1683"/>
                    <a:pt x="437" y="1708"/>
                    <a:pt x="399" y="1711"/>
                  </a:cubicBezTo>
                  <a:cubicBezTo>
                    <a:pt x="417" y="1669"/>
                    <a:pt x="429" y="1591"/>
                    <a:pt x="435" y="1521"/>
                  </a:cubicBezTo>
                  <a:cubicBezTo>
                    <a:pt x="452" y="1521"/>
                    <a:pt x="470" y="1520"/>
                    <a:pt x="487" y="1516"/>
                  </a:cubicBezTo>
                  <a:moveTo>
                    <a:pt x="401" y="1518"/>
                  </a:moveTo>
                  <a:cubicBezTo>
                    <a:pt x="395" y="1568"/>
                    <a:pt x="388" y="1616"/>
                    <a:pt x="380" y="1645"/>
                  </a:cubicBezTo>
                  <a:cubicBezTo>
                    <a:pt x="335" y="1672"/>
                    <a:pt x="288" y="1681"/>
                    <a:pt x="251" y="1671"/>
                  </a:cubicBezTo>
                  <a:cubicBezTo>
                    <a:pt x="282" y="1637"/>
                    <a:pt x="321" y="1568"/>
                    <a:pt x="350" y="1504"/>
                  </a:cubicBezTo>
                  <a:cubicBezTo>
                    <a:pt x="366" y="1511"/>
                    <a:pt x="383" y="1515"/>
                    <a:pt x="401" y="1518"/>
                  </a:cubicBezTo>
                  <a:moveTo>
                    <a:pt x="319" y="1490"/>
                  </a:moveTo>
                  <a:cubicBezTo>
                    <a:pt x="297" y="1535"/>
                    <a:pt x="274" y="1577"/>
                    <a:pt x="256" y="1602"/>
                  </a:cubicBezTo>
                  <a:cubicBezTo>
                    <a:pt x="205" y="1612"/>
                    <a:pt x="157" y="1604"/>
                    <a:pt x="126" y="1582"/>
                  </a:cubicBezTo>
                  <a:cubicBezTo>
                    <a:pt x="167" y="1561"/>
                    <a:pt x="227" y="1509"/>
                    <a:pt x="276" y="1460"/>
                  </a:cubicBezTo>
                  <a:cubicBezTo>
                    <a:pt x="289" y="1471"/>
                    <a:pt x="304" y="1481"/>
                    <a:pt x="319" y="1490"/>
                  </a:cubicBezTo>
                  <a:moveTo>
                    <a:pt x="252" y="1435"/>
                  </a:moveTo>
                  <a:cubicBezTo>
                    <a:pt x="215" y="1471"/>
                    <a:pt x="180" y="1502"/>
                    <a:pt x="154" y="1519"/>
                  </a:cubicBezTo>
                  <a:cubicBezTo>
                    <a:pt x="103" y="1511"/>
                    <a:pt x="61" y="1488"/>
                    <a:pt x="39" y="1456"/>
                  </a:cubicBezTo>
                  <a:cubicBezTo>
                    <a:pt x="85" y="1451"/>
                    <a:pt x="158" y="1422"/>
                    <a:pt x="222" y="1393"/>
                  </a:cubicBezTo>
                  <a:cubicBezTo>
                    <a:pt x="231" y="1408"/>
                    <a:pt x="241" y="1422"/>
                    <a:pt x="252" y="1435"/>
                  </a:cubicBezTo>
                  <a:moveTo>
                    <a:pt x="208" y="1361"/>
                  </a:moveTo>
                  <a:cubicBezTo>
                    <a:pt x="161" y="1382"/>
                    <a:pt x="117" y="1400"/>
                    <a:pt x="87" y="1407"/>
                  </a:cubicBezTo>
                  <a:cubicBezTo>
                    <a:pt x="41" y="1381"/>
                    <a:pt x="10" y="1345"/>
                    <a:pt x="0" y="1308"/>
                  </a:cubicBezTo>
                  <a:cubicBezTo>
                    <a:pt x="45" y="1319"/>
                    <a:pt x="124" y="1317"/>
                    <a:pt x="194" y="1311"/>
                  </a:cubicBezTo>
                  <a:cubicBezTo>
                    <a:pt x="196" y="1327"/>
                    <a:pt x="200" y="1342"/>
                    <a:pt x="206" y="1357"/>
                  </a:cubicBezTo>
                  <a:lnTo>
                    <a:pt x="208" y="1361"/>
                  </a:lnTo>
                  <a:close/>
                  <a:moveTo>
                    <a:pt x="191" y="1277"/>
                  </a:moveTo>
                  <a:cubicBezTo>
                    <a:pt x="140" y="1280"/>
                    <a:pt x="92" y="1281"/>
                    <a:pt x="62" y="1278"/>
                  </a:cubicBezTo>
                  <a:cubicBezTo>
                    <a:pt x="28" y="1239"/>
                    <a:pt x="11" y="1194"/>
                    <a:pt x="15" y="1156"/>
                  </a:cubicBezTo>
                  <a:cubicBezTo>
                    <a:pt x="53" y="1181"/>
                    <a:pt x="128" y="1207"/>
                    <a:pt x="196" y="1225"/>
                  </a:cubicBezTo>
                  <a:cubicBezTo>
                    <a:pt x="192" y="1242"/>
                    <a:pt x="191" y="1259"/>
                    <a:pt x="191" y="1277"/>
                  </a:cubicBezTo>
                  <a:moveTo>
                    <a:pt x="204" y="1191"/>
                  </a:moveTo>
                  <a:cubicBezTo>
                    <a:pt x="156" y="1178"/>
                    <a:pt x="110" y="1162"/>
                    <a:pt x="83" y="1149"/>
                  </a:cubicBezTo>
                  <a:cubicBezTo>
                    <a:pt x="65" y="1100"/>
                    <a:pt x="64" y="1052"/>
                    <a:pt x="80" y="1018"/>
                  </a:cubicBezTo>
                  <a:cubicBezTo>
                    <a:pt x="107" y="1054"/>
                    <a:pt x="169" y="1104"/>
                    <a:pt x="226" y="1144"/>
                  </a:cubicBezTo>
                  <a:cubicBezTo>
                    <a:pt x="218" y="1159"/>
                    <a:pt x="210" y="1175"/>
                    <a:pt x="204" y="1191"/>
                  </a:cubicBezTo>
                  <a:moveTo>
                    <a:pt x="246" y="1116"/>
                  </a:moveTo>
                  <a:cubicBezTo>
                    <a:pt x="205" y="1086"/>
                    <a:pt x="168" y="1056"/>
                    <a:pt x="147" y="1034"/>
                  </a:cubicBezTo>
                  <a:cubicBezTo>
                    <a:pt x="146" y="982"/>
                    <a:pt x="162" y="937"/>
                    <a:pt x="189" y="910"/>
                  </a:cubicBezTo>
                  <a:cubicBezTo>
                    <a:pt x="202" y="954"/>
                    <a:pt x="243" y="1021"/>
                    <a:pt x="283" y="1079"/>
                  </a:cubicBezTo>
                  <a:cubicBezTo>
                    <a:pt x="270" y="1090"/>
                    <a:pt x="257" y="1102"/>
                    <a:pt x="246" y="1116"/>
                  </a:cubicBezTo>
                  <a:moveTo>
                    <a:pt x="311" y="1059"/>
                  </a:moveTo>
                  <a:cubicBezTo>
                    <a:pt x="283" y="1017"/>
                    <a:pt x="258" y="976"/>
                    <a:pt x="246" y="948"/>
                  </a:cubicBezTo>
                  <a:cubicBezTo>
                    <a:pt x="263" y="899"/>
                    <a:pt x="293" y="862"/>
                    <a:pt x="328" y="846"/>
                  </a:cubicBezTo>
                  <a:cubicBezTo>
                    <a:pt x="325" y="892"/>
                    <a:pt x="341" y="969"/>
                    <a:pt x="359" y="1037"/>
                  </a:cubicBezTo>
                  <a:cubicBezTo>
                    <a:pt x="339" y="1044"/>
                    <a:pt x="325" y="1051"/>
                    <a:pt x="311" y="1059"/>
                  </a:cubicBezTo>
                  <a:moveTo>
                    <a:pt x="392" y="1028"/>
                  </a:moveTo>
                  <a:cubicBezTo>
                    <a:pt x="380" y="979"/>
                    <a:pt x="370" y="932"/>
                    <a:pt x="368" y="902"/>
                  </a:cubicBezTo>
                  <a:cubicBezTo>
                    <a:pt x="401" y="861"/>
                    <a:pt x="442" y="837"/>
                    <a:pt x="480" y="834"/>
                  </a:cubicBezTo>
                  <a:cubicBezTo>
                    <a:pt x="462" y="876"/>
                    <a:pt x="450" y="954"/>
                    <a:pt x="444" y="1024"/>
                  </a:cubicBezTo>
                  <a:cubicBezTo>
                    <a:pt x="427" y="1023"/>
                    <a:pt x="409" y="1025"/>
                    <a:pt x="392" y="1028"/>
                  </a:cubicBezTo>
                  <a:moveTo>
                    <a:pt x="478" y="1027"/>
                  </a:moveTo>
                  <a:cubicBezTo>
                    <a:pt x="484" y="976"/>
                    <a:pt x="491" y="929"/>
                    <a:pt x="499" y="900"/>
                  </a:cubicBezTo>
                  <a:cubicBezTo>
                    <a:pt x="544" y="873"/>
                    <a:pt x="591" y="864"/>
                    <a:pt x="628" y="874"/>
                  </a:cubicBezTo>
                  <a:cubicBezTo>
                    <a:pt x="597" y="907"/>
                    <a:pt x="558" y="977"/>
                    <a:pt x="529" y="1040"/>
                  </a:cubicBezTo>
                  <a:cubicBezTo>
                    <a:pt x="513" y="1034"/>
                    <a:pt x="496" y="1030"/>
                    <a:pt x="478" y="1027"/>
                  </a:cubicBezTo>
                  <a:moveTo>
                    <a:pt x="640" y="1199"/>
                  </a:moveTo>
                  <a:cubicBezTo>
                    <a:pt x="600" y="1088"/>
                    <a:pt x="477" y="1031"/>
                    <a:pt x="366" y="1071"/>
                  </a:cubicBezTo>
                  <a:cubicBezTo>
                    <a:pt x="255" y="1112"/>
                    <a:pt x="198" y="1234"/>
                    <a:pt x="239" y="1345"/>
                  </a:cubicBezTo>
                  <a:cubicBezTo>
                    <a:pt x="279" y="1456"/>
                    <a:pt x="402" y="1514"/>
                    <a:pt x="513" y="1473"/>
                  </a:cubicBezTo>
                  <a:cubicBezTo>
                    <a:pt x="624" y="1433"/>
                    <a:pt x="681" y="1310"/>
                    <a:pt x="640" y="1199"/>
                  </a:cubicBezTo>
                  <a:moveTo>
                    <a:pt x="560" y="1055"/>
                  </a:moveTo>
                  <a:cubicBezTo>
                    <a:pt x="582" y="1009"/>
                    <a:pt x="605" y="967"/>
                    <a:pt x="623" y="943"/>
                  </a:cubicBezTo>
                  <a:cubicBezTo>
                    <a:pt x="674" y="933"/>
                    <a:pt x="722" y="941"/>
                    <a:pt x="753" y="963"/>
                  </a:cubicBezTo>
                  <a:cubicBezTo>
                    <a:pt x="712" y="983"/>
                    <a:pt x="652" y="1035"/>
                    <a:pt x="603" y="1085"/>
                  </a:cubicBezTo>
                  <a:cubicBezTo>
                    <a:pt x="589" y="1073"/>
                    <a:pt x="575" y="1063"/>
                    <a:pt x="560" y="1055"/>
                  </a:cubicBezTo>
                  <a:moveTo>
                    <a:pt x="1597" y="1063"/>
                  </a:moveTo>
                  <a:cubicBezTo>
                    <a:pt x="1450" y="975"/>
                    <a:pt x="1450" y="975"/>
                    <a:pt x="1450" y="975"/>
                  </a:cubicBezTo>
                  <a:cubicBezTo>
                    <a:pt x="1480" y="770"/>
                    <a:pt x="1480" y="770"/>
                    <a:pt x="1480" y="770"/>
                  </a:cubicBezTo>
                  <a:cubicBezTo>
                    <a:pt x="1333" y="1004"/>
                    <a:pt x="1333" y="1004"/>
                    <a:pt x="1333" y="1004"/>
                  </a:cubicBezTo>
                  <a:cubicBezTo>
                    <a:pt x="1480" y="1092"/>
                    <a:pt x="1480" y="1092"/>
                    <a:pt x="1480" y="1092"/>
                  </a:cubicBezTo>
                  <a:cubicBezTo>
                    <a:pt x="1450" y="1297"/>
                    <a:pt x="1450" y="1297"/>
                    <a:pt x="1450" y="1297"/>
                  </a:cubicBezTo>
                  <a:lnTo>
                    <a:pt x="1597" y="1063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10800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hteck 78">
              <a:extLst>
                <a:ext uri="{FF2B5EF4-FFF2-40B4-BE49-F238E27FC236}">
                  <a16:creationId xmlns:a16="http://schemas.microsoft.com/office/drawing/2014/main" id="{C94DC23C-0CA9-4794-8B63-8807FCA536D9}"/>
                </a:ext>
              </a:extLst>
            </p:cNvPr>
            <p:cNvSpPr>
              <a:spLocks/>
            </p:cNvSpPr>
            <p:nvPr/>
          </p:nvSpPr>
          <p:spPr bwMode="gray">
            <a:xfrm>
              <a:off x="621807" y="414406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Local Power</a:t>
              </a:r>
            </a:p>
          </p:txBody>
        </p: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C71A2BCE-D2D3-4BD5-BE81-AB9DE54993FE}"/>
              </a:ext>
            </a:extLst>
          </p:cNvPr>
          <p:cNvGrpSpPr/>
          <p:nvPr/>
        </p:nvGrpSpPr>
        <p:grpSpPr>
          <a:xfrm>
            <a:off x="7100917" y="1703271"/>
            <a:ext cx="4619684" cy="4113082"/>
            <a:chOff x="7100917" y="1703271"/>
            <a:chExt cx="4619684" cy="4113082"/>
          </a:xfrm>
        </p:grpSpPr>
        <p:sp>
          <p:nvSpPr>
            <p:cNvPr id="66" name="Rechteck 79">
              <a:extLst>
                <a:ext uri="{FF2B5EF4-FFF2-40B4-BE49-F238E27FC236}">
                  <a16:creationId xmlns:a16="http://schemas.microsoft.com/office/drawing/2014/main" id="{E502F345-F2FA-4958-936A-17DB7E291830}"/>
                </a:ext>
              </a:extLst>
            </p:cNvPr>
            <p:cNvSpPr>
              <a:spLocks/>
            </p:cNvSpPr>
            <p:nvPr/>
          </p:nvSpPr>
          <p:spPr bwMode="gray">
            <a:xfrm>
              <a:off x="8840876" y="2784851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Smart Factory</a:t>
              </a:r>
            </a:p>
          </p:txBody>
        </p:sp>
        <p:sp>
          <p:nvSpPr>
            <p:cNvPr id="67" name="Rechteck 82">
              <a:extLst>
                <a:ext uri="{FF2B5EF4-FFF2-40B4-BE49-F238E27FC236}">
                  <a16:creationId xmlns:a16="http://schemas.microsoft.com/office/drawing/2014/main" id="{6B6D1678-4CEB-4B55-8AEF-FB2C6D36E64C}"/>
                </a:ext>
              </a:extLst>
            </p:cNvPr>
            <p:cNvSpPr>
              <a:spLocks/>
            </p:cNvSpPr>
            <p:nvPr/>
          </p:nvSpPr>
          <p:spPr bwMode="gray">
            <a:xfrm>
              <a:off x="8809344" y="5095291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rgbClr val="006487"/>
                  </a:solidFill>
                </a:rPr>
                <a:t> Intelligent Healthcare</a:t>
              </a:r>
            </a:p>
          </p:txBody>
        </p:sp>
        <p:cxnSp>
          <p:nvCxnSpPr>
            <p:cNvPr id="68" name="Gerade Verbindung 251">
              <a:extLst>
                <a:ext uri="{FF2B5EF4-FFF2-40B4-BE49-F238E27FC236}">
                  <a16:creationId xmlns:a16="http://schemas.microsoft.com/office/drawing/2014/main" id="{2DC3686A-D490-41FA-B090-950FC75A5CA2}"/>
                </a:ext>
              </a:extLst>
            </p:cNvPr>
            <p:cNvCxnSpPr/>
            <p:nvPr/>
          </p:nvCxnSpPr>
          <p:spPr bwMode="gray">
            <a:xfrm flipH="1">
              <a:off x="8243969" y="3103395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254">
              <a:extLst>
                <a:ext uri="{FF2B5EF4-FFF2-40B4-BE49-F238E27FC236}">
                  <a16:creationId xmlns:a16="http://schemas.microsoft.com/office/drawing/2014/main" id="{A2A34953-C13D-440A-B4C3-5BD62DDFF818}"/>
                </a:ext>
              </a:extLst>
            </p:cNvPr>
            <p:cNvCxnSpPr/>
            <p:nvPr/>
          </p:nvCxnSpPr>
          <p:spPr bwMode="gray">
            <a:xfrm flipH="1">
              <a:off x="8243969" y="4455161"/>
              <a:ext cx="3471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505A64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70" name="Gruppieren 36">
              <a:extLst>
                <a:ext uri="{FF2B5EF4-FFF2-40B4-BE49-F238E27FC236}">
                  <a16:creationId xmlns:a16="http://schemas.microsoft.com/office/drawing/2014/main" id="{36F4F92F-607C-4C6B-B0A8-E27AD33E1BD5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 bwMode="gray">
            <a:xfrm>
              <a:off x="7290517" y="2150337"/>
              <a:ext cx="4425233" cy="3263454"/>
              <a:chOff x="7225157" y="2150337"/>
              <a:chExt cx="4490594" cy="3263454"/>
            </a:xfrm>
          </p:grpSpPr>
          <p:cxnSp>
            <p:nvCxnSpPr>
              <p:cNvPr id="123" name="Gerade Verbindung 248">
                <a:extLst>
                  <a:ext uri="{FF2B5EF4-FFF2-40B4-BE49-F238E27FC236}">
                    <a16:creationId xmlns:a16="http://schemas.microsoft.com/office/drawing/2014/main" id="{0DAB03F8-FBFC-48CA-B141-8CE658CE9471}"/>
                  </a:ext>
                </a:extLst>
              </p:cNvPr>
              <p:cNvCxnSpPr/>
              <p:nvPr/>
            </p:nvCxnSpPr>
            <p:spPr bwMode="gray">
              <a:xfrm flipH="1">
                <a:off x="7225157" y="2150337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24" name="Gerade Verbindung 255">
                <a:extLst>
                  <a:ext uri="{FF2B5EF4-FFF2-40B4-BE49-F238E27FC236}">
                    <a16:creationId xmlns:a16="http://schemas.microsoft.com/office/drawing/2014/main" id="{668D67D5-A5FA-4C54-9E44-E8C8338015E9}"/>
                  </a:ext>
                </a:extLst>
              </p:cNvPr>
              <p:cNvCxnSpPr/>
              <p:nvPr/>
            </p:nvCxnSpPr>
            <p:spPr bwMode="gray">
              <a:xfrm flipH="1">
                <a:off x="7225157" y="5413791"/>
                <a:ext cx="4490594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505A64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71" name="Rechteck 80">
              <a:extLst>
                <a:ext uri="{FF2B5EF4-FFF2-40B4-BE49-F238E27FC236}">
                  <a16:creationId xmlns:a16="http://schemas.microsoft.com/office/drawing/2014/main" id="{346BD6C4-2D04-4BB4-85EA-27E16ADE1063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3" y="1847950"/>
              <a:ext cx="2879725" cy="312330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Intelligent Traffic</a:t>
              </a:r>
            </a:p>
          </p:txBody>
        </p:sp>
        <p:sp>
          <p:nvSpPr>
            <p:cNvPr id="72" name="Rechteck 81">
              <a:extLst>
                <a:ext uri="{FF2B5EF4-FFF2-40B4-BE49-F238E27FC236}">
                  <a16:creationId xmlns:a16="http://schemas.microsoft.com/office/drawing/2014/main" id="{A095CD31-7171-4892-8D96-29301C744667}"/>
                </a:ext>
              </a:extLst>
            </p:cNvPr>
            <p:cNvSpPr>
              <a:spLocks/>
            </p:cNvSpPr>
            <p:nvPr/>
          </p:nvSpPr>
          <p:spPr bwMode="gray">
            <a:xfrm>
              <a:off x="8836025" y="4162387"/>
              <a:ext cx="2879725" cy="33855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wrap="square" lIns="0" tIns="0" rIns="0" bIns="0" numCol="1" spcCol="72000" rtlCol="0" anchor="t">
              <a:spAutoFit/>
            </a:bodyPr>
            <a:lstStyle/>
            <a:p>
              <a:pPr algn="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r>
                <a:rPr lang="en-US" sz="2000" b="1" dirty="0">
                  <a:solidFill>
                    <a:schemeClr val="accent5"/>
                  </a:solidFill>
                </a:rPr>
                <a:t>Smart Building</a:t>
              </a:r>
            </a:p>
          </p:txBody>
        </p:sp>
        <p:sp>
          <p:nvSpPr>
            <p:cNvPr id="73" name="Freihandform 16">
              <a:extLst>
                <a:ext uri="{FF2B5EF4-FFF2-40B4-BE49-F238E27FC236}">
                  <a16:creationId xmlns:a16="http://schemas.microsoft.com/office/drawing/2014/main" id="{D51DD373-E250-47F8-8A5D-B9F0FC31BB11}"/>
                </a:ext>
              </a:extLst>
            </p:cNvPr>
            <p:cNvSpPr/>
            <p:nvPr/>
          </p:nvSpPr>
          <p:spPr bwMode="gray">
            <a:xfrm rot="20239983">
              <a:off x="7100917" y="170327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sp>
          <p:nvSpPr>
            <p:cNvPr id="74" name="Freihandform 22">
              <a:extLst>
                <a:ext uri="{FF2B5EF4-FFF2-40B4-BE49-F238E27FC236}">
                  <a16:creationId xmlns:a16="http://schemas.microsoft.com/office/drawing/2014/main" id="{84B22D73-8488-4B84-AF6C-1FD8F1B22B25}"/>
                </a:ext>
              </a:extLst>
            </p:cNvPr>
            <p:cNvSpPr/>
            <p:nvPr/>
          </p:nvSpPr>
          <p:spPr bwMode="gray">
            <a:xfrm rot="20239983">
              <a:off x="8055519" y="4001941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47013" tIns="147013" rIns="147013" bIns="147013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1800" kern="1200" dirty="0"/>
            </a:p>
          </p:txBody>
        </p:sp>
        <p:grpSp>
          <p:nvGrpSpPr>
            <p:cNvPr id="75" name="Gruppieren 137">
              <a:extLst>
                <a:ext uri="{FF2B5EF4-FFF2-40B4-BE49-F238E27FC236}">
                  <a16:creationId xmlns:a16="http://schemas.microsoft.com/office/drawing/2014/main" id="{782FF1A1-DFC8-426E-BE7F-E1A4AA3703B3}"/>
                </a:ext>
              </a:extLst>
            </p:cNvPr>
            <p:cNvGrpSpPr/>
            <p:nvPr>
              <p:custDataLst>
                <p:tags r:id="rId2"/>
              </p:custDataLst>
            </p:nvPr>
          </p:nvGrpSpPr>
          <p:grpSpPr bwMode="gray">
            <a:xfrm>
              <a:off x="7253817" y="1942176"/>
              <a:ext cx="594448" cy="475784"/>
              <a:chOff x="10670726" y="4894391"/>
              <a:chExt cx="856292" cy="685358"/>
            </a:xfrm>
            <a:solidFill>
              <a:srgbClr val="505A64"/>
            </a:solidFill>
          </p:grpSpPr>
          <p:grpSp>
            <p:nvGrpSpPr>
              <p:cNvPr id="116" name="Gruppieren 138">
                <a:extLst>
                  <a:ext uri="{FF2B5EF4-FFF2-40B4-BE49-F238E27FC236}">
                    <a16:creationId xmlns:a16="http://schemas.microsoft.com/office/drawing/2014/main" id="{38B140CD-5A6B-4F9F-8B2E-A1AA62C2ED79}"/>
                  </a:ext>
                </a:extLst>
              </p:cNvPr>
              <p:cNvGrpSpPr/>
              <p:nvPr/>
            </p:nvGrpSpPr>
            <p:grpSpPr bwMode="gray">
              <a:xfrm>
                <a:off x="10670726" y="4894391"/>
                <a:ext cx="856292" cy="685358"/>
                <a:chOff x="10670726" y="5057549"/>
                <a:chExt cx="856292" cy="685358"/>
              </a:xfrm>
              <a:grpFill/>
            </p:grpSpPr>
            <p:grpSp>
              <p:nvGrpSpPr>
                <p:cNvPr id="119" name="Gruppieren 141">
                  <a:extLst>
                    <a:ext uri="{FF2B5EF4-FFF2-40B4-BE49-F238E27FC236}">
                      <a16:creationId xmlns:a16="http://schemas.microsoft.com/office/drawing/2014/main" id="{A4F4B036-8FA1-4998-926C-C5845A68EE6F}"/>
                    </a:ext>
                  </a:extLst>
                </p:cNvPr>
                <p:cNvGrpSpPr/>
                <p:nvPr/>
              </p:nvGrpSpPr>
              <p:grpSpPr bwMode="gray">
                <a:xfrm>
                  <a:off x="10670726" y="5057549"/>
                  <a:ext cx="856292" cy="685358"/>
                  <a:chOff x="5933535" y="5073735"/>
                  <a:chExt cx="558000" cy="446611"/>
                </a:xfrm>
                <a:grpFill/>
              </p:grpSpPr>
              <p:sp>
                <p:nvSpPr>
                  <p:cNvPr id="121" name="Freeform 21">
                    <a:extLst>
                      <a:ext uri="{FF2B5EF4-FFF2-40B4-BE49-F238E27FC236}">
                        <a16:creationId xmlns:a16="http://schemas.microsoft.com/office/drawing/2014/main" id="{557D459B-26C0-4EE9-8503-C7920C4CE654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gray">
                  <a:xfrm>
                    <a:off x="5933535" y="5073735"/>
                    <a:ext cx="558000" cy="446611"/>
                  </a:xfrm>
                  <a:custGeom>
                    <a:avLst/>
                    <a:gdLst>
                      <a:gd name="T0" fmla="*/ 130 w 3211"/>
                      <a:gd name="T1" fmla="*/ 129 h 2570"/>
                      <a:gd name="T2" fmla="*/ 3083 w 3211"/>
                      <a:gd name="T3" fmla="*/ 129 h 2570"/>
                      <a:gd name="T4" fmla="*/ 3083 w 3211"/>
                      <a:gd name="T5" fmla="*/ 1799 h 2570"/>
                      <a:gd name="T6" fmla="*/ 130 w 3211"/>
                      <a:gd name="T7" fmla="*/ 1799 h 2570"/>
                      <a:gd name="T8" fmla="*/ 130 w 3211"/>
                      <a:gd name="T9" fmla="*/ 129 h 2570"/>
                      <a:gd name="T10" fmla="*/ 0 w 3211"/>
                      <a:gd name="T11" fmla="*/ 0 h 2570"/>
                      <a:gd name="T12" fmla="*/ 0 w 3211"/>
                      <a:gd name="T13" fmla="*/ 2056 h 2570"/>
                      <a:gd name="T14" fmla="*/ 1215 w 3211"/>
                      <a:gd name="T15" fmla="*/ 2056 h 2570"/>
                      <a:gd name="T16" fmla="*/ 1215 w 3211"/>
                      <a:gd name="T17" fmla="*/ 2442 h 2570"/>
                      <a:gd name="T18" fmla="*/ 957 w 3211"/>
                      <a:gd name="T19" fmla="*/ 2442 h 2570"/>
                      <a:gd name="T20" fmla="*/ 957 w 3211"/>
                      <a:gd name="T21" fmla="*/ 2570 h 2570"/>
                      <a:gd name="T22" fmla="*/ 2249 w 3211"/>
                      <a:gd name="T23" fmla="*/ 2570 h 2570"/>
                      <a:gd name="T24" fmla="*/ 2249 w 3211"/>
                      <a:gd name="T25" fmla="*/ 2442 h 2570"/>
                      <a:gd name="T26" fmla="*/ 1991 w 3211"/>
                      <a:gd name="T27" fmla="*/ 2442 h 2570"/>
                      <a:gd name="T28" fmla="*/ 1991 w 3211"/>
                      <a:gd name="T29" fmla="*/ 2056 h 2570"/>
                      <a:gd name="T30" fmla="*/ 3211 w 3211"/>
                      <a:gd name="T31" fmla="*/ 2056 h 2570"/>
                      <a:gd name="T32" fmla="*/ 3211 w 3211"/>
                      <a:gd name="T33" fmla="*/ 0 h 2570"/>
                      <a:gd name="T34" fmla="*/ 0 w 3211"/>
                      <a:gd name="T35" fmla="*/ 0 h 257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3211" h="2570">
                        <a:moveTo>
                          <a:pt x="130" y="129"/>
                        </a:moveTo>
                        <a:lnTo>
                          <a:pt x="3083" y="129"/>
                        </a:lnTo>
                        <a:lnTo>
                          <a:pt x="3083" y="1799"/>
                        </a:lnTo>
                        <a:lnTo>
                          <a:pt x="130" y="1799"/>
                        </a:lnTo>
                        <a:lnTo>
                          <a:pt x="130" y="129"/>
                        </a:lnTo>
                        <a:close/>
                        <a:moveTo>
                          <a:pt x="0" y="0"/>
                        </a:moveTo>
                        <a:lnTo>
                          <a:pt x="0" y="2056"/>
                        </a:lnTo>
                        <a:lnTo>
                          <a:pt x="1215" y="2056"/>
                        </a:lnTo>
                        <a:lnTo>
                          <a:pt x="1215" y="2442"/>
                        </a:lnTo>
                        <a:lnTo>
                          <a:pt x="957" y="2442"/>
                        </a:lnTo>
                        <a:lnTo>
                          <a:pt x="957" y="2570"/>
                        </a:lnTo>
                        <a:lnTo>
                          <a:pt x="2249" y="2570"/>
                        </a:lnTo>
                        <a:lnTo>
                          <a:pt x="2249" y="2442"/>
                        </a:lnTo>
                        <a:lnTo>
                          <a:pt x="1991" y="2442"/>
                        </a:lnTo>
                        <a:lnTo>
                          <a:pt x="1991" y="2056"/>
                        </a:lnTo>
                        <a:lnTo>
                          <a:pt x="3211" y="2056"/>
                        </a:lnTo>
                        <a:lnTo>
                          <a:pt x="3211" y="0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  <p:sp>
                <p:nvSpPr>
                  <p:cNvPr id="122" name="Freeform 24">
                    <a:extLst>
                      <a:ext uri="{FF2B5EF4-FFF2-40B4-BE49-F238E27FC236}">
                        <a16:creationId xmlns:a16="http://schemas.microsoft.com/office/drawing/2014/main" id="{000DC034-1682-4219-BBC4-C03E4957FF09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6095322" y="5186517"/>
                    <a:ext cx="231298" cy="63951"/>
                  </a:xfrm>
                  <a:custGeom>
                    <a:avLst/>
                    <a:gdLst>
                      <a:gd name="T0" fmla="*/ 36 w 1331"/>
                      <a:gd name="T1" fmla="*/ 368 h 368"/>
                      <a:gd name="T2" fmla="*/ 0 w 1331"/>
                      <a:gd name="T3" fmla="*/ 368 h 368"/>
                      <a:gd name="T4" fmla="*/ 0 w 1331"/>
                      <a:gd name="T5" fmla="*/ 0 h 368"/>
                      <a:gd name="T6" fmla="*/ 1331 w 1331"/>
                      <a:gd name="T7" fmla="*/ 0 h 368"/>
                      <a:gd name="T8" fmla="*/ 1331 w 1331"/>
                      <a:gd name="T9" fmla="*/ 125 h 368"/>
                      <a:gd name="T10" fmla="*/ 1294 w 1331"/>
                      <a:gd name="T11" fmla="*/ 125 h 368"/>
                      <a:gd name="T12" fmla="*/ 1294 w 1331"/>
                      <a:gd name="T13" fmla="*/ 38 h 368"/>
                      <a:gd name="T14" fmla="*/ 36 w 1331"/>
                      <a:gd name="T15" fmla="*/ 38 h 368"/>
                      <a:gd name="T16" fmla="*/ 36 w 1331"/>
                      <a:gd name="T17" fmla="*/ 368 h 36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</a:cxnLst>
                    <a:rect l="0" t="0" r="r" b="b"/>
                    <a:pathLst>
                      <a:path w="1331" h="368">
                        <a:moveTo>
                          <a:pt x="36" y="368"/>
                        </a:moveTo>
                        <a:lnTo>
                          <a:pt x="0" y="368"/>
                        </a:lnTo>
                        <a:lnTo>
                          <a:pt x="0" y="0"/>
                        </a:lnTo>
                        <a:lnTo>
                          <a:pt x="1331" y="0"/>
                        </a:lnTo>
                        <a:lnTo>
                          <a:pt x="1331" y="125"/>
                        </a:lnTo>
                        <a:lnTo>
                          <a:pt x="1294" y="125"/>
                        </a:lnTo>
                        <a:lnTo>
                          <a:pt x="1294" y="38"/>
                        </a:lnTo>
                        <a:lnTo>
                          <a:pt x="36" y="38"/>
                        </a:lnTo>
                        <a:lnTo>
                          <a:pt x="36" y="368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en-US"/>
                  </a:p>
                </p:txBody>
              </p:sp>
            </p:grpSp>
            <p:sp>
              <p:nvSpPr>
                <p:cNvPr id="120" name="Freeform 23">
                  <a:extLst>
                    <a:ext uri="{FF2B5EF4-FFF2-40B4-BE49-F238E27FC236}">
                      <a16:creationId xmlns:a16="http://schemas.microsoft.com/office/drawing/2014/main" id="{27CE7CF0-838C-4E6A-9265-D5BBE8A56D99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11061403" y="5122885"/>
                  <a:ext cx="84802" cy="87469"/>
                </a:xfrm>
                <a:custGeom>
                  <a:avLst/>
                  <a:gdLst>
                    <a:gd name="T0" fmla="*/ 138 w 318"/>
                    <a:gd name="T1" fmla="*/ 1 h 328"/>
                    <a:gd name="T2" fmla="*/ 88 w 318"/>
                    <a:gd name="T3" fmla="*/ 13 h 328"/>
                    <a:gd name="T4" fmla="*/ 47 w 318"/>
                    <a:gd name="T5" fmla="*/ 40 h 328"/>
                    <a:gd name="T6" fmla="*/ 35 w 318"/>
                    <a:gd name="T7" fmla="*/ 53 h 328"/>
                    <a:gd name="T8" fmla="*/ 32 w 318"/>
                    <a:gd name="T9" fmla="*/ 72 h 328"/>
                    <a:gd name="T10" fmla="*/ 11 w 318"/>
                    <a:gd name="T11" fmla="*/ 108 h 328"/>
                    <a:gd name="T12" fmla="*/ 1 w 318"/>
                    <a:gd name="T13" fmla="*/ 150 h 328"/>
                    <a:gd name="T14" fmla="*/ 1 w 318"/>
                    <a:gd name="T15" fmla="*/ 177 h 328"/>
                    <a:gd name="T16" fmla="*/ 8 w 318"/>
                    <a:gd name="T17" fmla="*/ 214 h 328"/>
                    <a:gd name="T18" fmla="*/ 25 w 318"/>
                    <a:gd name="T19" fmla="*/ 248 h 328"/>
                    <a:gd name="T20" fmla="*/ 43 w 318"/>
                    <a:gd name="T21" fmla="*/ 250 h 328"/>
                    <a:gd name="T22" fmla="*/ 25 w 318"/>
                    <a:gd name="T23" fmla="*/ 221 h 328"/>
                    <a:gd name="T24" fmla="*/ 15 w 318"/>
                    <a:gd name="T25" fmla="*/ 187 h 328"/>
                    <a:gd name="T26" fmla="*/ 13 w 318"/>
                    <a:gd name="T27" fmla="*/ 165 h 328"/>
                    <a:gd name="T28" fmla="*/ 19 w 318"/>
                    <a:gd name="T29" fmla="*/ 126 h 328"/>
                    <a:gd name="T30" fmla="*/ 35 w 318"/>
                    <a:gd name="T31" fmla="*/ 91 h 328"/>
                    <a:gd name="T32" fmla="*/ 135 w 318"/>
                    <a:gd name="T33" fmla="*/ 178 h 328"/>
                    <a:gd name="T34" fmla="*/ 82 w 318"/>
                    <a:gd name="T35" fmla="*/ 56 h 328"/>
                    <a:gd name="T36" fmla="*/ 135 w 318"/>
                    <a:gd name="T37" fmla="*/ 36 h 328"/>
                    <a:gd name="T38" fmla="*/ 167 w 318"/>
                    <a:gd name="T39" fmla="*/ 35 h 328"/>
                    <a:gd name="T40" fmla="*/ 205 w 318"/>
                    <a:gd name="T41" fmla="*/ 44 h 328"/>
                    <a:gd name="T42" fmla="*/ 237 w 318"/>
                    <a:gd name="T43" fmla="*/ 64 h 328"/>
                    <a:gd name="T44" fmla="*/ 262 w 318"/>
                    <a:gd name="T45" fmla="*/ 91 h 328"/>
                    <a:gd name="T46" fmla="*/ 278 w 318"/>
                    <a:gd name="T47" fmla="*/ 126 h 328"/>
                    <a:gd name="T48" fmla="*/ 285 w 318"/>
                    <a:gd name="T49" fmla="*/ 165 h 328"/>
                    <a:gd name="T50" fmla="*/ 282 w 318"/>
                    <a:gd name="T51" fmla="*/ 190 h 328"/>
                    <a:gd name="T52" fmla="*/ 269 w 318"/>
                    <a:gd name="T53" fmla="*/ 226 h 328"/>
                    <a:gd name="T54" fmla="*/ 246 w 318"/>
                    <a:gd name="T55" fmla="*/ 256 h 328"/>
                    <a:gd name="T56" fmla="*/ 217 w 318"/>
                    <a:gd name="T57" fmla="*/ 278 h 328"/>
                    <a:gd name="T58" fmla="*/ 181 w 318"/>
                    <a:gd name="T59" fmla="*/ 290 h 328"/>
                    <a:gd name="T60" fmla="*/ 154 w 318"/>
                    <a:gd name="T61" fmla="*/ 293 h 328"/>
                    <a:gd name="T62" fmla="*/ 112 w 318"/>
                    <a:gd name="T63" fmla="*/ 286 h 328"/>
                    <a:gd name="T64" fmla="*/ 84 w 318"/>
                    <a:gd name="T65" fmla="*/ 312 h 328"/>
                    <a:gd name="T66" fmla="*/ 136 w 318"/>
                    <a:gd name="T67" fmla="*/ 327 h 328"/>
                    <a:gd name="T68" fmla="*/ 171 w 318"/>
                    <a:gd name="T69" fmla="*/ 327 h 328"/>
                    <a:gd name="T70" fmla="*/ 218 w 318"/>
                    <a:gd name="T71" fmla="*/ 315 h 328"/>
                    <a:gd name="T72" fmla="*/ 258 w 318"/>
                    <a:gd name="T73" fmla="*/ 290 h 328"/>
                    <a:gd name="T74" fmla="*/ 290 w 318"/>
                    <a:gd name="T75" fmla="*/ 256 h 328"/>
                    <a:gd name="T76" fmla="*/ 312 w 318"/>
                    <a:gd name="T77" fmla="*/ 213 h 328"/>
                    <a:gd name="T78" fmla="*/ 318 w 318"/>
                    <a:gd name="T79" fmla="*/ 165 h 328"/>
                    <a:gd name="T80" fmla="*/ 316 w 318"/>
                    <a:gd name="T81" fmla="*/ 131 h 328"/>
                    <a:gd name="T82" fmla="*/ 298 w 318"/>
                    <a:gd name="T83" fmla="*/ 86 h 328"/>
                    <a:gd name="T84" fmla="*/ 270 w 318"/>
                    <a:gd name="T85" fmla="*/ 48 h 328"/>
                    <a:gd name="T86" fmla="*/ 233 w 318"/>
                    <a:gd name="T87" fmla="*/ 20 h 328"/>
                    <a:gd name="T88" fmla="*/ 187 w 318"/>
                    <a:gd name="T89" fmla="*/ 4 h 3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318" h="328">
                      <a:moveTo>
                        <a:pt x="154" y="0"/>
                      </a:moveTo>
                      <a:lnTo>
                        <a:pt x="154" y="0"/>
                      </a:lnTo>
                      <a:lnTo>
                        <a:pt x="138" y="1"/>
                      </a:lnTo>
                      <a:lnTo>
                        <a:pt x="120" y="4"/>
                      </a:lnTo>
                      <a:lnTo>
                        <a:pt x="104" y="8"/>
                      </a:lnTo>
                      <a:lnTo>
                        <a:pt x="88" y="13"/>
                      </a:lnTo>
                      <a:lnTo>
                        <a:pt x="74" y="21"/>
                      </a:lnTo>
                      <a:lnTo>
                        <a:pt x="60" y="31"/>
                      </a:lnTo>
                      <a:lnTo>
                        <a:pt x="47" y="40"/>
                      </a:lnTo>
                      <a:lnTo>
                        <a:pt x="33" y="52"/>
                      </a:lnTo>
                      <a:lnTo>
                        <a:pt x="36" y="53"/>
                      </a:lnTo>
                      <a:lnTo>
                        <a:pt x="35" y="53"/>
                      </a:lnTo>
                      <a:lnTo>
                        <a:pt x="41" y="62"/>
                      </a:lnTo>
                      <a:lnTo>
                        <a:pt x="41" y="62"/>
                      </a:lnTo>
                      <a:lnTo>
                        <a:pt x="32" y="72"/>
                      </a:lnTo>
                      <a:lnTo>
                        <a:pt x="24" y="83"/>
                      </a:lnTo>
                      <a:lnTo>
                        <a:pt x="17" y="95"/>
                      </a:lnTo>
                      <a:lnTo>
                        <a:pt x="11" y="108"/>
                      </a:lnTo>
                      <a:lnTo>
                        <a:pt x="7" y="122"/>
                      </a:lnTo>
                      <a:lnTo>
                        <a:pt x="3" y="135"/>
                      </a:lnTo>
                      <a:lnTo>
                        <a:pt x="1" y="150"/>
                      </a:lnTo>
                      <a:lnTo>
                        <a:pt x="0" y="165"/>
                      </a:lnTo>
                      <a:lnTo>
                        <a:pt x="0" y="165"/>
                      </a:lnTo>
                      <a:lnTo>
                        <a:pt x="1" y="177"/>
                      </a:lnTo>
                      <a:lnTo>
                        <a:pt x="3" y="190"/>
                      </a:lnTo>
                      <a:lnTo>
                        <a:pt x="5" y="202"/>
                      </a:lnTo>
                      <a:lnTo>
                        <a:pt x="8" y="214"/>
                      </a:lnTo>
                      <a:lnTo>
                        <a:pt x="13" y="225"/>
                      </a:lnTo>
                      <a:lnTo>
                        <a:pt x="19" y="237"/>
                      </a:lnTo>
                      <a:lnTo>
                        <a:pt x="25" y="248"/>
                      </a:lnTo>
                      <a:lnTo>
                        <a:pt x="32" y="258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36" y="241"/>
                      </a:lnTo>
                      <a:lnTo>
                        <a:pt x="29" y="230"/>
                      </a:lnTo>
                      <a:lnTo>
                        <a:pt x="25" y="221"/>
                      </a:lnTo>
                      <a:lnTo>
                        <a:pt x="21" y="210"/>
                      </a:lnTo>
                      <a:lnTo>
                        <a:pt x="17" y="198"/>
                      </a:lnTo>
                      <a:lnTo>
                        <a:pt x="15" y="187"/>
                      </a:lnTo>
                      <a:lnTo>
                        <a:pt x="13" y="175"/>
                      </a:lnTo>
                      <a:lnTo>
                        <a:pt x="13" y="165"/>
                      </a:lnTo>
                      <a:lnTo>
                        <a:pt x="13" y="165"/>
                      </a:lnTo>
                      <a:lnTo>
                        <a:pt x="13" y="151"/>
                      </a:lnTo>
                      <a:lnTo>
                        <a:pt x="16" y="138"/>
                      </a:lnTo>
                      <a:lnTo>
                        <a:pt x="19" y="126"/>
                      </a:lnTo>
                      <a:lnTo>
                        <a:pt x="23" y="114"/>
                      </a:lnTo>
                      <a:lnTo>
                        <a:pt x="28" y="102"/>
                      </a:lnTo>
                      <a:lnTo>
                        <a:pt x="35" y="91"/>
                      </a:lnTo>
                      <a:lnTo>
                        <a:pt x="41" y="82"/>
                      </a:lnTo>
                      <a:lnTo>
                        <a:pt x="50" y="71"/>
                      </a:lnTo>
                      <a:lnTo>
                        <a:pt x="135" y="178"/>
                      </a:lnTo>
                      <a:lnTo>
                        <a:pt x="162" y="157"/>
                      </a:lnTo>
                      <a:lnTo>
                        <a:pt x="82" y="56"/>
                      </a:lnTo>
                      <a:lnTo>
                        <a:pt x="82" y="56"/>
                      </a:lnTo>
                      <a:lnTo>
                        <a:pt x="99" y="47"/>
                      </a:lnTo>
                      <a:lnTo>
                        <a:pt x="116" y="40"/>
                      </a:lnTo>
                      <a:lnTo>
                        <a:pt x="135" y="36"/>
                      </a:lnTo>
                      <a:lnTo>
                        <a:pt x="154" y="35"/>
                      </a:lnTo>
                      <a:lnTo>
                        <a:pt x="154" y="35"/>
                      </a:lnTo>
                      <a:lnTo>
                        <a:pt x="167" y="35"/>
                      </a:lnTo>
                      <a:lnTo>
                        <a:pt x="181" y="37"/>
                      </a:lnTo>
                      <a:lnTo>
                        <a:pt x="193" y="40"/>
                      </a:lnTo>
                      <a:lnTo>
                        <a:pt x="205" y="44"/>
                      </a:lnTo>
                      <a:lnTo>
                        <a:pt x="217" y="49"/>
                      </a:lnTo>
                      <a:lnTo>
                        <a:pt x="227" y="56"/>
                      </a:lnTo>
                      <a:lnTo>
                        <a:pt x="237" y="64"/>
                      </a:lnTo>
                      <a:lnTo>
                        <a:pt x="246" y="72"/>
                      </a:lnTo>
                      <a:lnTo>
                        <a:pt x="254" y="82"/>
                      </a:lnTo>
                      <a:lnTo>
                        <a:pt x="262" y="91"/>
                      </a:lnTo>
                      <a:lnTo>
                        <a:pt x="269" y="102"/>
                      </a:lnTo>
                      <a:lnTo>
                        <a:pt x="274" y="114"/>
                      </a:lnTo>
                      <a:lnTo>
                        <a:pt x="278" y="126"/>
                      </a:lnTo>
                      <a:lnTo>
                        <a:pt x="282" y="138"/>
                      </a:lnTo>
                      <a:lnTo>
                        <a:pt x="284" y="151"/>
                      </a:lnTo>
                      <a:lnTo>
                        <a:pt x="285" y="165"/>
                      </a:lnTo>
                      <a:lnTo>
                        <a:pt x="285" y="165"/>
                      </a:lnTo>
                      <a:lnTo>
                        <a:pt x="284" y="177"/>
                      </a:lnTo>
                      <a:lnTo>
                        <a:pt x="282" y="190"/>
                      </a:lnTo>
                      <a:lnTo>
                        <a:pt x="278" y="202"/>
                      </a:lnTo>
                      <a:lnTo>
                        <a:pt x="274" y="214"/>
                      </a:lnTo>
                      <a:lnTo>
                        <a:pt x="269" y="226"/>
                      </a:lnTo>
                      <a:lnTo>
                        <a:pt x="262" y="237"/>
                      </a:lnTo>
                      <a:lnTo>
                        <a:pt x="254" y="246"/>
                      </a:lnTo>
                      <a:lnTo>
                        <a:pt x="246" y="256"/>
                      </a:lnTo>
                      <a:lnTo>
                        <a:pt x="237" y="264"/>
                      </a:lnTo>
                      <a:lnTo>
                        <a:pt x="227" y="272"/>
                      </a:lnTo>
                      <a:lnTo>
                        <a:pt x="217" y="278"/>
                      </a:lnTo>
                      <a:lnTo>
                        <a:pt x="205" y="284"/>
                      </a:lnTo>
                      <a:lnTo>
                        <a:pt x="193" y="288"/>
                      </a:lnTo>
                      <a:lnTo>
                        <a:pt x="181" y="290"/>
                      </a:lnTo>
                      <a:lnTo>
                        <a:pt x="167" y="293"/>
                      </a:lnTo>
                      <a:lnTo>
                        <a:pt x="154" y="293"/>
                      </a:lnTo>
                      <a:lnTo>
                        <a:pt x="154" y="293"/>
                      </a:lnTo>
                      <a:lnTo>
                        <a:pt x="139" y="293"/>
                      </a:lnTo>
                      <a:lnTo>
                        <a:pt x="126" y="290"/>
                      </a:lnTo>
                      <a:lnTo>
                        <a:pt x="112" y="286"/>
                      </a:lnTo>
                      <a:lnTo>
                        <a:pt x="99" y="281"/>
                      </a:lnTo>
                      <a:lnTo>
                        <a:pt x="84" y="312"/>
                      </a:lnTo>
                      <a:lnTo>
                        <a:pt x="84" y="312"/>
                      </a:lnTo>
                      <a:lnTo>
                        <a:pt x="102" y="319"/>
                      </a:lnTo>
                      <a:lnTo>
                        <a:pt x="118" y="324"/>
                      </a:lnTo>
                      <a:lnTo>
                        <a:pt x="136" y="327"/>
                      </a:lnTo>
                      <a:lnTo>
                        <a:pt x="154" y="328"/>
                      </a:lnTo>
                      <a:lnTo>
                        <a:pt x="154" y="328"/>
                      </a:lnTo>
                      <a:lnTo>
                        <a:pt x="171" y="327"/>
                      </a:lnTo>
                      <a:lnTo>
                        <a:pt x="187" y="324"/>
                      </a:lnTo>
                      <a:lnTo>
                        <a:pt x="203" y="320"/>
                      </a:lnTo>
                      <a:lnTo>
                        <a:pt x="218" y="315"/>
                      </a:lnTo>
                      <a:lnTo>
                        <a:pt x="233" y="308"/>
                      </a:lnTo>
                      <a:lnTo>
                        <a:pt x="246" y="300"/>
                      </a:lnTo>
                      <a:lnTo>
                        <a:pt x="258" y="290"/>
                      </a:lnTo>
                      <a:lnTo>
                        <a:pt x="270" y="280"/>
                      </a:lnTo>
                      <a:lnTo>
                        <a:pt x="281" y="268"/>
                      </a:lnTo>
                      <a:lnTo>
                        <a:pt x="290" y="256"/>
                      </a:lnTo>
                      <a:lnTo>
                        <a:pt x="298" y="242"/>
                      </a:lnTo>
                      <a:lnTo>
                        <a:pt x="306" y="228"/>
                      </a:lnTo>
                      <a:lnTo>
                        <a:pt x="312" y="213"/>
                      </a:lnTo>
                      <a:lnTo>
                        <a:pt x="316" y="197"/>
                      </a:lnTo>
                      <a:lnTo>
                        <a:pt x="318" y="181"/>
                      </a:lnTo>
                      <a:lnTo>
                        <a:pt x="318" y="165"/>
                      </a:lnTo>
                      <a:lnTo>
                        <a:pt x="318" y="165"/>
                      </a:lnTo>
                      <a:lnTo>
                        <a:pt x="318" y="147"/>
                      </a:lnTo>
                      <a:lnTo>
                        <a:pt x="316" y="131"/>
                      </a:lnTo>
                      <a:lnTo>
                        <a:pt x="312" y="115"/>
                      </a:lnTo>
                      <a:lnTo>
                        <a:pt x="306" y="100"/>
                      </a:lnTo>
                      <a:lnTo>
                        <a:pt x="298" y="86"/>
                      </a:lnTo>
                      <a:lnTo>
                        <a:pt x="290" y="72"/>
                      </a:lnTo>
                      <a:lnTo>
                        <a:pt x="281" y="60"/>
                      </a:lnTo>
                      <a:lnTo>
                        <a:pt x="270" y="48"/>
                      </a:lnTo>
                      <a:lnTo>
                        <a:pt x="258" y="37"/>
                      </a:lnTo>
                      <a:lnTo>
                        <a:pt x="246" y="28"/>
                      </a:lnTo>
                      <a:lnTo>
                        <a:pt x="233" y="20"/>
                      </a:lnTo>
                      <a:lnTo>
                        <a:pt x="218" y="13"/>
                      </a:lnTo>
                      <a:lnTo>
                        <a:pt x="203" y="8"/>
                      </a:lnTo>
                      <a:lnTo>
                        <a:pt x="187" y="4"/>
                      </a:lnTo>
                      <a:lnTo>
                        <a:pt x="171" y="1"/>
                      </a:lnTo>
                      <a:lnTo>
                        <a:pt x="154" y="0"/>
                      </a:lnTo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117" name="Freeform 30">
                <a:extLst>
                  <a:ext uri="{FF2B5EF4-FFF2-40B4-BE49-F238E27FC236}">
                    <a16:creationId xmlns:a16="http://schemas.microsoft.com/office/drawing/2014/main" id="{F2AC7E10-C846-4942-9DD1-6F88FDE37EB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0817394" y="5184268"/>
                <a:ext cx="210407" cy="168806"/>
              </a:xfrm>
              <a:custGeom>
                <a:avLst/>
                <a:gdLst>
                  <a:gd name="T0" fmla="*/ 68 w 789"/>
                  <a:gd name="T1" fmla="*/ 253 h 633"/>
                  <a:gd name="T2" fmla="*/ 25 w 789"/>
                  <a:gd name="T3" fmla="*/ 304 h 633"/>
                  <a:gd name="T4" fmla="*/ 17 w 789"/>
                  <a:gd name="T5" fmla="*/ 321 h 633"/>
                  <a:gd name="T6" fmla="*/ 29 w 789"/>
                  <a:gd name="T7" fmla="*/ 525 h 633"/>
                  <a:gd name="T8" fmla="*/ 39 w 789"/>
                  <a:gd name="T9" fmla="*/ 633 h 633"/>
                  <a:gd name="T10" fmla="*/ 160 w 789"/>
                  <a:gd name="T11" fmla="*/ 594 h 633"/>
                  <a:gd name="T12" fmla="*/ 401 w 789"/>
                  <a:gd name="T13" fmla="*/ 600 h 633"/>
                  <a:gd name="T14" fmla="*/ 634 w 789"/>
                  <a:gd name="T15" fmla="*/ 594 h 633"/>
                  <a:gd name="T16" fmla="*/ 754 w 789"/>
                  <a:gd name="T17" fmla="*/ 561 h 633"/>
                  <a:gd name="T18" fmla="*/ 768 w 789"/>
                  <a:gd name="T19" fmla="*/ 426 h 633"/>
                  <a:gd name="T20" fmla="*/ 772 w 789"/>
                  <a:gd name="T21" fmla="*/ 318 h 633"/>
                  <a:gd name="T22" fmla="*/ 746 w 789"/>
                  <a:gd name="T23" fmla="*/ 281 h 633"/>
                  <a:gd name="T24" fmla="*/ 720 w 789"/>
                  <a:gd name="T25" fmla="*/ 244 h 633"/>
                  <a:gd name="T26" fmla="*/ 762 w 789"/>
                  <a:gd name="T27" fmla="*/ 239 h 633"/>
                  <a:gd name="T28" fmla="*/ 785 w 789"/>
                  <a:gd name="T29" fmla="*/ 230 h 633"/>
                  <a:gd name="T30" fmla="*/ 787 w 789"/>
                  <a:gd name="T31" fmla="*/ 214 h 633"/>
                  <a:gd name="T32" fmla="*/ 768 w 789"/>
                  <a:gd name="T33" fmla="*/ 194 h 633"/>
                  <a:gd name="T34" fmla="*/ 714 w 789"/>
                  <a:gd name="T35" fmla="*/ 183 h 633"/>
                  <a:gd name="T36" fmla="*/ 698 w 789"/>
                  <a:gd name="T37" fmla="*/ 161 h 633"/>
                  <a:gd name="T38" fmla="*/ 678 w 789"/>
                  <a:gd name="T39" fmla="*/ 114 h 633"/>
                  <a:gd name="T40" fmla="*/ 617 w 789"/>
                  <a:gd name="T41" fmla="*/ 12 h 633"/>
                  <a:gd name="T42" fmla="*/ 595 w 789"/>
                  <a:gd name="T43" fmla="*/ 1 h 633"/>
                  <a:gd name="T44" fmla="*/ 395 w 789"/>
                  <a:gd name="T45" fmla="*/ 0 h 633"/>
                  <a:gd name="T46" fmla="*/ 213 w 789"/>
                  <a:gd name="T47" fmla="*/ 0 h 633"/>
                  <a:gd name="T48" fmla="*/ 179 w 789"/>
                  <a:gd name="T49" fmla="*/ 7 h 633"/>
                  <a:gd name="T50" fmla="*/ 155 w 789"/>
                  <a:gd name="T51" fmla="*/ 35 h 633"/>
                  <a:gd name="T52" fmla="*/ 98 w 789"/>
                  <a:gd name="T53" fmla="*/ 143 h 633"/>
                  <a:gd name="T54" fmla="*/ 84 w 789"/>
                  <a:gd name="T55" fmla="*/ 183 h 633"/>
                  <a:gd name="T56" fmla="*/ 41 w 789"/>
                  <a:gd name="T57" fmla="*/ 189 h 633"/>
                  <a:gd name="T58" fmla="*/ 15 w 789"/>
                  <a:gd name="T59" fmla="*/ 198 h 633"/>
                  <a:gd name="T60" fmla="*/ 0 w 789"/>
                  <a:gd name="T61" fmla="*/ 222 h 633"/>
                  <a:gd name="T62" fmla="*/ 9 w 789"/>
                  <a:gd name="T63" fmla="*/ 234 h 633"/>
                  <a:gd name="T64" fmla="*/ 56 w 789"/>
                  <a:gd name="T65" fmla="*/ 244 h 633"/>
                  <a:gd name="T66" fmla="*/ 720 w 789"/>
                  <a:gd name="T67" fmla="*/ 273 h 633"/>
                  <a:gd name="T68" fmla="*/ 721 w 789"/>
                  <a:gd name="T69" fmla="*/ 304 h 633"/>
                  <a:gd name="T70" fmla="*/ 713 w 789"/>
                  <a:gd name="T71" fmla="*/ 321 h 633"/>
                  <a:gd name="T72" fmla="*/ 651 w 789"/>
                  <a:gd name="T73" fmla="*/ 337 h 633"/>
                  <a:gd name="T74" fmla="*/ 631 w 789"/>
                  <a:gd name="T75" fmla="*/ 336 h 633"/>
                  <a:gd name="T76" fmla="*/ 613 w 789"/>
                  <a:gd name="T77" fmla="*/ 308 h 633"/>
                  <a:gd name="T78" fmla="*/ 613 w 789"/>
                  <a:gd name="T79" fmla="*/ 296 h 633"/>
                  <a:gd name="T80" fmla="*/ 665 w 789"/>
                  <a:gd name="T81" fmla="*/ 280 h 633"/>
                  <a:gd name="T82" fmla="*/ 193 w 789"/>
                  <a:gd name="T83" fmla="*/ 57 h 633"/>
                  <a:gd name="T84" fmla="*/ 214 w 789"/>
                  <a:gd name="T85" fmla="*/ 48 h 633"/>
                  <a:gd name="T86" fmla="*/ 574 w 789"/>
                  <a:gd name="T87" fmla="*/ 48 h 633"/>
                  <a:gd name="T88" fmla="*/ 590 w 789"/>
                  <a:gd name="T89" fmla="*/ 52 h 633"/>
                  <a:gd name="T90" fmla="*/ 611 w 789"/>
                  <a:gd name="T91" fmla="*/ 87 h 633"/>
                  <a:gd name="T92" fmla="*/ 658 w 789"/>
                  <a:gd name="T93" fmla="*/ 210 h 633"/>
                  <a:gd name="T94" fmla="*/ 132 w 789"/>
                  <a:gd name="T95" fmla="*/ 218 h 633"/>
                  <a:gd name="T96" fmla="*/ 146 w 789"/>
                  <a:gd name="T97" fmla="*/ 167 h 633"/>
                  <a:gd name="T98" fmla="*/ 195 w 789"/>
                  <a:gd name="T99" fmla="*/ 297 h 633"/>
                  <a:gd name="T100" fmla="*/ 187 w 789"/>
                  <a:gd name="T101" fmla="*/ 320 h 633"/>
                  <a:gd name="T102" fmla="*/ 170 w 789"/>
                  <a:gd name="T103" fmla="*/ 339 h 633"/>
                  <a:gd name="T104" fmla="*/ 130 w 789"/>
                  <a:gd name="T105" fmla="*/ 335 h 633"/>
                  <a:gd name="T106" fmla="*/ 92 w 789"/>
                  <a:gd name="T107" fmla="*/ 322 h 633"/>
                  <a:gd name="T108" fmla="*/ 84 w 789"/>
                  <a:gd name="T109" fmla="*/ 297 h 633"/>
                  <a:gd name="T110" fmla="*/ 88 w 789"/>
                  <a:gd name="T111" fmla="*/ 269 h 633"/>
                  <a:gd name="T112" fmla="*/ 160 w 789"/>
                  <a:gd name="T113" fmla="*/ 284 h 633"/>
                  <a:gd name="T114" fmla="*/ 195 w 789"/>
                  <a:gd name="T115" fmla="*/ 297 h 6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89" h="633">
                    <a:moveTo>
                      <a:pt x="71" y="244"/>
                    </a:moveTo>
                    <a:lnTo>
                      <a:pt x="71" y="244"/>
                    </a:lnTo>
                    <a:lnTo>
                      <a:pt x="68" y="253"/>
                    </a:lnTo>
                    <a:lnTo>
                      <a:pt x="68" y="253"/>
                    </a:lnTo>
                    <a:lnTo>
                      <a:pt x="60" y="261"/>
                    </a:lnTo>
                    <a:lnTo>
                      <a:pt x="43" y="281"/>
                    </a:lnTo>
                    <a:lnTo>
                      <a:pt x="33" y="293"/>
                    </a:lnTo>
                    <a:lnTo>
                      <a:pt x="25" y="304"/>
                    </a:lnTo>
                    <a:lnTo>
                      <a:pt x="20" y="314"/>
                    </a:lnTo>
                    <a:lnTo>
                      <a:pt x="19" y="318"/>
                    </a:lnTo>
                    <a:lnTo>
                      <a:pt x="17" y="321"/>
                    </a:lnTo>
                    <a:lnTo>
                      <a:pt x="17" y="321"/>
                    </a:lnTo>
                    <a:lnTo>
                      <a:pt x="19" y="364"/>
                    </a:lnTo>
                    <a:lnTo>
                      <a:pt x="23" y="443"/>
                    </a:lnTo>
                    <a:lnTo>
                      <a:pt x="27" y="486"/>
                    </a:lnTo>
                    <a:lnTo>
                      <a:pt x="29" y="525"/>
                    </a:lnTo>
                    <a:lnTo>
                      <a:pt x="35" y="555"/>
                    </a:lnTo>
                    <a:lnTo>
                      <a:pt x="36" y="567"/>
                    </a:lnTo>
                    <a:lnTo>
                      <a:pt x="39" y="575"/>
                    </a:lnTo>
                    <a:lnTo>
                      <a:pt x="39" y="633"/>
                    </a:lnTo>
                    <a:lnTo>
                      <a:pt x="119" y="633"/>
                    </a:lnTo>
                    <a:lnTo>
                      <a:pt x="119" y="592"/>
                    </a:lnTo>
                    <a:lnTo>
                      <a:pt x="119" y="592"/>
                    </a:lnTo>
                    <a:lnTo>
                      <a:pt x="160" y="594"/>
                    </a:lnTo>
                    <a:lnTo>
                      <a:pt x="203" y="597"/>
                    </a:lnTo>
                    <a:lnTo>
                      <a:pt x="289" y="598"/>
                    </a:lnTo>
                    <a:lnTo>
                      <a:pt x="389" y="600"/>
                    </a:lnTo>
                    <a:lnTo>
                      <a:pt x="401" y="600"/>
                    </a:lnTo>
                    <a:lnTo>
                      <a:pt x="401" y="600"/>
                    </a:lnTo>
                    <a:lnTo>
                      <a:pt x="503" y="600"/>
                    </a:lnTo>
                    <a:lnTo>
                      <a:pt x="590" y="597"/>
                    </a:lnTo>
                    <a:lnTo>
                      <a:pt x="634" y="594"/>
                    </a:lnTo>
                    <a:lnTo>
                      <a:pt x="674" y="592"/>
                    </a:lnTo>
                    <a:lnTo>
                      <a:pt x="674" y="633"/>
                    </a:lnTo>
                    <a:lnTo>
                      <a:pt x="754" y="633"/>
                    </a:lnTo>
                    <a:lnTo>
                      <a:pt x="754" y="561"/>
                    </a:lnTo>
                    <a:lnTo>
                      <a:pt x="754" y="561"/>
                    </a:lnTo>
                    <a:lnTo>
                      <a:pt x="758" y="535"/>
                    </a:lnTo>
                    <a:lnTo>
                      <a:pt x="762" y="502"/>
                    </a:lnTo>
                    <a:lnTo>
                      <a:pt x="768" y="426"/>
                    </a:lnTo>
                    <a:lnTo>
                      <a:pt x="771" y="357"/>
                    </a:lnTo>
                    <a:lnTo>
                      <a:pt x="772" y="322"/>
                    </a:lnTo>
                    <a:lnTo>
                      <a:pt x="772" y="322"/>
                    </a:lnTo>
                    <a:lnTo>
                      <a:pt x="772" y="318"/>
                    </a:lnTo>
                    <a:lnTo>
                      <a:pt x="771" y="314"/>
                    </a:lnTo>
                    <a:lnTo>
                      <a:pt x="764" y="304"/>
                    </a:lnTo>
                    <a:lnTo>
                      <a:pt x="756" y="293"/>
                    </a:lnTo>
                    <a:lnTo>
                      <a:pt x="746" y="281"/>
                    </a:lnTo>
                    <a:lnTo>
                      <a:pt x="729" y="261"/>
                    </a:lnTo>
                    <a:lnTo>
                      <a:pt x="721" y="253"/>
                    </a:lnTo>
                    <a:lnTo>
                      <a:pt x="721" y="253"/>
                    </a:lnTo>
                    <a:lnTo>
                      <a:pt x="720" y="244"/>
                    </a:lnTo>
                    <a:lnTo>
                      <a:pt x="720" y="244"/>
                    </a:lnTo>
                    <a:lnTo>
                      <a:pt x="734" y="242"/>
                    </a:lnTo>
                    <a:lnTo>
                      <a:pt x="753" y="241"/>
                    </a:lnTo>
                    <a:lnTo>
                      <a:pt x="762" y="239"/>
                    </a:lnTo>
                    <a:lnTo>
                      <a:pt x="772" y="237"/>
                    </a:lnTo>
                    <a:lnTo>
                      <a:pt x="780" y="234"/>
                    </a:lnTo>
                    <a:lnTo>
                      <a:pt x="785" y="230"/>
                    </a:lnTo>
                    <a:lnTo>
                      <a:pt x="785" y="230"/>
                    </a:lnTo>
                    <a:lnTo>
                      <a:pt x="788" y="226"/>
                    </a:lnTo>
                    <a:lnTo>
                      <a:pt x="789" y="222"/>
                    </a:lnTo>
                    <a:lnTo>
                      <a:pt x="789" y="218"/>
                    </a:lnTo>
                    <a:lnTo>
                      <a:pt x="787" y="214"/>
                    </a:lnTo>
                    <a:lnTo>
                      <a:pt x="781" y="206"/>
                    </a:lnTo>
                    <a:lnTo>
                      <a:pt x="775" y="198"/>
                    </a:lnTo>
                    <a:lnTo>
                      <a:pt x="775" y="198"/>
                    </a:lnTo>
                    <a:lnTo>
                      <a:pt x="768" y="194"/>
                    </a:lnTo>
                    <a:lnTo>
                      <a:pt x="760" y="191"/>
                    </a:lnTo>
                    <a:lnTo>
                      <a:pt x="748" y="189"/>
                    </a:lnTo>
                    <a:lnTo>
                      <a:pt x="736" y="186"/>
                    </a:lnTo>
                    <a:lnTo>
                      <a:pt x="71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704" y="183"/>
                    </a:lnTo>
                    <a:lnTo>
                      <a:pt x="698" y="161"/>
                    </a:lnTo>
                    <a:lnTo>
                      <a:pt x="693" y="143"/>
                    </a:lnTo>
                    <a:lnTo>
                      <a:pt x="693" y="143"/>
                    </a:lnTo>
                    <a:lnTo>
                      <a:pt x="688" y="131"/>
                    </a:lnTo>
                    <a:lnTo>
                      <a:pt x="678" y="114"/>
                    </a:lnTo>
                    <a:lnTo>
                      <a:pt x="657" y="74"/>
                    </a:lnTo>
                    <a:lnTo>
                      <a:pt x="634" y="36"/>
                    </a:lnTo>
                    <a:lnTo>
                      <a:pt x="625" y="21"/>
                    </a:lnTo>
                    <a:lnTo>
                      <a:pt x="617" y="12"/>
                    </a:lnTo>
                    <a:lnTo>
                      <a:pt x="617" y="12"/>
                    </a:lnTo>
                    <a:lnTo>
                      <a:pt x="610" y="7"/>
                    </a:lnTo>
                    <a:lnTo>
                      <a:pt x="603" y="4"/>
                    </a:lnTo>
                    <a:lnTo>
                      <a:pt x="595" y="1"/>
                    </a:lnTo>
                    <a:lnTo>
                      <a:pt x="589" y="0"/>
                    </a:lnTo>
                    <a:lnTo>
                      <a:pt x="577" y="0"/>
                    </a:lnTo>
                    <a:lnTo>
                      <a:pt x="573" y="0"/>
                    </a:lnTo>
                    <a:lnTo>
                      <a:pt x="395" y="0"/>
                    </a:lnTo>
                    <a:lnTo>
                      <a:pt x="395" y="0"/>
                    </a:lnTo>
                    <a:lnTo>
                      <a:pt x="218" y="0"/>
                    </a:lnTo>
                    <a:lnTo>
                      <a:pt x="218" y="0"/>
                    </a:lnTo>
                    <a:lnTo>
                      <a:pt x="213" y="0"/>
                    </a:lnTo>
                    <a:lnTo>
                      <a:pt x="201" y="0"/>
                    </a:lnTo>
                    <a:lnTo>
                      <a:pt x="194" y="1"/>
                    </a:lnTo>
                    <a:lnTo>
                      <a:pt x="186" y="3"/>
                    </a:lnTo>
                    <a:lnTo>
                      <a:pt x="179" y="7"/>
                    </a:lnTo>
                    <a:lnTo>
                      <a:pt x="172" y="12"/>
                    </a:lnTo>
                    <a:lnTo>
                      <a:pt x="172" y="12"/>
                    </a:lnTo>
                    <a:lnTo>
                      <a:pt x="164" y="21"/>
                    </a:lnTo>
                    <a:lnTo>
                      <a:pt x="155" y="35"/>
                    </a:lnTo>
                    <a:lnTo>
                      <a:pt x="132" y="74"/>
                    </a:lnTo>
                    <a:lnTo>
                      <a:pt x="111" y="114"/>
                    </a:lnTo>
                    <a:lnTo>
                      <a:pt x="103" y="131"/>
                    </a:lnTo>
                    <a:lnTo>
                      <a:pt x="98" y="143"/>
                    </a:lnTo>
                    <a:lnTo>
                      <a:pt x="98" y="143"/>
                    </a:lnTo>
                    <a:lnTo>
                      <a:pt x="91" y="162"/>
                    </a:lnTo>
                    <a:lnTo>
                      <a:pt x="84" y="186"/>
                    </a:lnTo>
                    <a:lnTo>
                      <a:pt x="84" y="183"/>
                    </a:lnTo>
                    <a:lnTo>
                      <a:pt x="84" y="183"/>
                    </a:lnTo>
                    <a:lnTo>
                      <a:pt x="75" y="183"/>
                    </a:lnTo>
                    <a:lnTo>
                      <a:pt x="53" y="186"/>
                    </a:lnTo>
                    <a:lnTo>
                      <a:pt x="41" y="189"/>
                    </a:lnTo>
                    <a:lnTo>
                      <a:pt x="29" y="191"/>
                    </a:lnTo>
                    <a:lnTo>
                      <a:pt x="20" y="194"/>
                    </a:lnTo>
                    <a:lnTo>
                      <a:pt x="15" y="198"/>
                    </a:lnTo>
                    <a:lnTo>
                      <a:pt x="15" y="198"/>
                    </a:lnTo>
                    <a:lnTo>
                      <a:pt x="8" y="206"/>
                    </a:lnTo>
                    <a:lnTo>
                      <a:pt x="1" y="214"/>
                    </a:lnTo>
                    <a:lnTo>
                      <a:pt x="0" y="218"/>
                    </a:lnTo>
                    <a:lnTo>
                      <a:pt x="0" y="222"/>
                    </a:lnTo>
                    <a:lnTo>
                      <a:pt x="1" y="226"/>
                    </a:lnTo>
                    <a:lnTo>
                      <a:pt x="4" y="230"/>
                    </a:lnTo>
                    <a:lnTo>
                      <a:pt x="4" y="230"/>
                    </a:lnTo>
                    <a:lnTo>
                      <a:pt x="9" y="234"/>
                    </a:lnTo>
                    <a:lnTo>
                      <a:pt x="17" y="237"/>
                    </a:lnTo>
                    <a:lnTo>
                      <a:pt x="27" y="239"/>
                    </a:lnTo>
                    <a:lnTo>
                      <a:pt x="36" y="241"/>
                    </a:lnTo>
                    <a:lnTo>
                      <a:pt x="56" y="244"/>
                    </a:lnTo>
                    <a:lnTo>
                      <a:pt x="71" y="244"/>
                    </a:lnTo>
                    <a:close/>
                    <a:moveTo>
                      <a:pt x="717" y="269"/>
                    </a:moveTo>
                    <a:lnTo>
                      <a:pt x="717" y="269"/>
                    </a:lnTo>
                    <a:lnTo>
                      <a:pt x="720" y="273"/>
                    </a:lnTo>
                    <a:lnTo>
                      <a:pt x="722" y="280"/>
                    </a:lnTo>
                    <a:lnTo>
                      <a:pt x="722" y="288"/>
                    </a:lnTo>
                    <a:lnTo>
                      <a:pt x="722" y="296"/>
                    </a:lnTo>
                    <a:lnTo>
                      <a:pt x="721" y="304"/>
                    </a:lnTo>
                    <a:lnTo>
                      <a:pt x="718" y="312"/>
                    </a:lnTo>
                    <a:lnTo>
                      <a:pt x="716" y="317"/>
                    </a:lnTo>
                    <a:lnTo>
                      <a:pt x="713" y="321"/>
                    </a:lnTo>
                    <a:lnTo>
                      <a:pt x="713" y="321"/>
                    </a:lnTo>
                    <a:lnTo>
                      <a:pt x="708" y="324"/>
                    </a:lnTo>
                    <a:lnTo>
                      <a:pt x="700" y="327"/>
                    </a:lnTo>
                    <a:lnTo>
                      <a:pt x="676" y="333"/>
                    </a:lnTo>
                    <a:lnTo>
                      <a:pt x="651" y="337"/>
                    </a:lnTo>
                    <a:lnTo>
                      <a:pt x="642" y="339"/>
                    </a:lnTo>
                    <a:lnTo>
                      <a:pt x="635" y="337"/>
                    </a:lnTo>
                    <a:lnTo>
                      <a:pt x="635" y="337"/>
                    </a:lnTo>
                    <a:lnTo>
                      <a:pt x="631" y="336"/>
                    </a:lnTo>
                    <a:lnTo>
                      <a:pt x="626" y="331"/>
                    </a:lnTo>
                    <a:lnTo>
                      <a:pt x="622" y="325"/>
                    </a:lnTo>
                    <a:lnTo>
                      <a:pt x="618" y="320"/>
                    </a:lnTo>
                    <a:lnTo>
                      <a:pt x="613" y="308"/>
                    </a:lnTo>
                    <a:lnTo>
                      <a:pt x="611" y="301"/>
                    </a:lnTo>
                    <a:lnTo>
                      <a:pt x="611" y="297"/>
                    </a:lnTo>
                    <a:lnTo>
                      <a:pt x="611" y="297"/>
                    </a:lnTo>
                    <a:lnTo>
                      <a:pt x="613" y="296"/>
                    </a:lnTo>
                    <a:lnTo>
                      <a:pt x="617" y="293"/>
                    </a:lnTo>
                    <a:lnTo>
                      <a:pt x="629" y="289"/>
                    </a:lnTo>
                    <a:lnTo>
                      <a:pt x="646" y="284"/>
                    </a:lnTo>
                    <a:lnTo>
                      <a:pt x="665" y="280"/>
                    </a:lnTo>
                    <a:lnTo>
                      <a:pt x="701" y="272"/>
                    </a:lnTo>
                    <a:lnTo>
                      <a:pt x="717" y="269"/>
                    </a:lnTo>
                    <a:close/>
                    <a:moveTo>
                      <a:pt x="193" y="57"/>
                    </a:moveTo>
                    <a:lnTo>
                      <a:pt x="193" y="57"/>
                    </a:lnTo>
                    <a:lnTo>
                      <a:pt x="195" y="53"/>
                    </a:lnTo>
                    <a:lnTo>
                      <a:pt x="199" y="52"/>
                    </a:lnTo>
                    <a:lnTo>
                      <a:pt x="207" y="49"/>
                    </a:lnTo>
                    <a:lnTo>
                      <a:pt x="214" y="48"/>
                    </a:lnTo>
                    <a:lnTo>
                      <a:pt x="217" y="48"/>
                    </a:lnTo>
                    <a:lnTo>
                      <a:pt x="395" y="48"/>
                    </a:lnTo>
                    <a:lnTo>
                      <a:pt x="395" y="48"/>
                    </a:lnTo>
                    <a:lnTo>
                      <a:pt x="574" y="48"/>
                    </a:lnTo>
                    <a:lnTo>
                      <a:pt x="574" y="48"/>
                    </a:lnTo>
                    <a:lnTo>
                      <a:pt x="577" y="48"/>
                    </a:lnTo>
                    <a:lnTo>
                      <a:pt x="583" y="49"/>
                    </a:lnTo>
                    <a:lnTo>
                      <a:pt x="590" y="52"/>
                    </a:lnTo>
                    <a:lnTo>
                      <a:pt x="594" y="55"/>
                    </a:lnTo>
                    <a:lnTo>
                      <a:pt x="597" y="57"/>
                    </a:lnTo>
                    <a:lnTo>
                      <a:pt x="597" y="57"/>
                    </a:lnTo>
                    <a:lnTo>
                      <a:pt x="611" y="87"/>
                    </a:lnTo>
                    <a:lnTo>
                      <a:pt x="633" y="139"/>
                    </a:lnTo>
                    <a:lnTo>
                      <a:pt x="643" y="167"/>
                    </a:lnTo>
                    <a:lnTo>
                      <a:pt x="653" y="193"/>
                    </a:lnTo>
                    <a:lnTo>
                      <a:pt x="658" y="210"/>
                    </a:lnTo>
                    <a:lnTo>
                      <a:pt x="658" y="215"/>
                    </a:lnTo>
                    <a:lnTo>
                      <a:pt x="658" y="218"/>
                    </a:lnTo>
                    <a:lnTo>
                      <a:pt x="132" y="218"/>
                    </a:lnTo>
                    <a:lnTo>
                      <a:pt x="132" y="218"/>
                    </a:lnTo>
                    <a:lnTo>
                      <a:pt x="131" y="215"/>
                    </a:lnTo>
                    <a:lnTo>
                      <a:pt x="132" y="210"/>
                    </a:lnTo>
                    <a:lnTo>
                      <a:pt x="138" y="191"/>
                    </a:lnTo>
                    <a:lnTo>
                      <a:pt x="146" y="167"/>
                    </a:lnTo>
                    <a:lnTo>
                      <a:pt x="156" y="139"/>
                    </a:lnTo>
                    <a:lnTo>
                      <a:pt x="179" y="87"/>
                    </a:lnTo>
                    <a:lnTo>
                      <a:pt x="193" y="57"/>
                    </a:lnTo>
                    <a:close/>
                    <a:moveTo>
                      <a:pt x="195" y="297"/>
                    </a:moveTo>
                    <a:lnTo>
                      <a:pt x="195" y="297"/>
                    </a:lnTo>
                    <a:lnTo>
                      <a:pt x="195" y="302"/>
                    </a:lnTo>
                    <a:lnTo>
                      <a:pt x="194" y="308"/>
                    </a:lnTo>
                    <a:lnTo>
                      <a:pt x="187" y="320"/>
                    </a:lnTo>
                    <a:lnTo>
                      <a:pt x="183" y="327"/>
                    </a:lnTo>
                    <a:lnTo>
                      <a:pt x="179" y="332"/>
                    </a:lnTo>
                    <a:lnTo>
                      <a:pt x="175" y="336"/>
                    </a:lnTo>
                    <a:lnTo>
                      <a:pt x="170" y="339"/>
                    </a:lnTo>
                    <a:lnTo>
                      <a:pt x="170" y="339"/>
                    </a:lnTo>
                    <a:lnTo>
                      <a:pt x="163" y="339"/>
                    </a:lnTo>
                    <a:lnTo>
                      <a:pt x="154" y="339"/>
                    </a:lnTo>
                    <a:lnTo>
                      <a:pt x="130" y="335"/>
                    </a:lnTo>
                    <a:lnTo>
                      <a:pt x="107" y="328"/>
                    </a:lnTo>
                    <a:lnTo>
                      <a:pt x="98" y="325"/>
                    </a:lnTo>
                    <a:lnTo>
                      <a:pt x="92" y="322"/>
                    </a:lnTo>
                    <a:lnTo>
                      <a:pt x="92" y="322"/>
                    </a:lnTo>
                    <a:lnTo>
                      <a:pt x="90" y="318"/>
                    </a:lnTo>
                    <a:lnTo>
                      <a:pt x="87" y="312"/>
                    </a:lnTo>
                    <a:lnTo>
                      <a:pt x="86" y="305"/>
                    </a:lnTo>
                    <a:lnTo>
                      <a:pt x="84" y="297"/>
                    </a:lnTo>
                    <a:lnTo>
                      <a:pt x="83" y="288"/>
                    </a:lnTo>
                    <a:lnTo>
                      <a:pt x="84" y="280"/>
                    </a:lnTo>
                    <a:lnTo>
                      <a:pt x="86" y="274"/>
                    </a:lnTo>
                    <a:lnTo>
                      <a:pt x="88" y="269"/>
                    </a:lnTo>
                    <a:lnTo>
                      <a:pt x="88" y="269"/>
                    </a:lnTo>
                    <a:lnTo>
                      <a:pt x="106" y="273"/>
                    </a:lnTo>
                    <a:lnTo>
                      <a:pt x="140" y="280"/>
                    </a:lnTo>
                    <a:lnTo>
                      <a:pt x="160" y="284"/>
                    </a:lnTo>
                    <a:lnTo>
                      <a:pt x="178" y="289"/>
                    </a:lnTo>
                    <a:lnTo>
                      <a:pt x="190" y="293"/>
                    </a:lnTo>
                    <a:lnTo>
                      <a:pt x="193" y="296"/>
                    </a:lnTo>
                    <a:lnTo>
                      <a:pt x="195" y="2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Freeform 25">
                <a:extLst>
                  <a:ext uri="{FF2B5EF4-FFF2-40B4-BE49-F238E27FC236}">
                    <a16:creationId xmlns:a16="http://schemas.microsoft.com/office/drawing/2014/main" id="{2C40BEDC-6EE6-49D1-B028-7349422E6577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167007" y="5120799"/>
                <a:ext cx="201339" cy="233608"/>
              </a:xfrm>
              <a:custGeom>
                <a:avLst/>
                <a:gdLst>
                  <a:gd name="T0" fmla="*/ 670 w 755"/>
                  <a:gd name="T1" fmla="*/ 646 h 876"/>
                  <a:gd name="T2" fmla="*/ 653 w 755"/>
                  <a:gd name="T3" fmla="*/ 635 h 876"/>
                  <a:gd name="T4" fmla="*/ 642 w 755"/>
                  <a:gd name="T5" fmla="*/ 618 h 876"/>
                  <a:gd name="T6" fmla="*/ 642 w 755"/>
                  <a:gd name="T7" fmla="*/ 603 h 876"/>
                  <a:gd name="T8" fmla="*/ 653 w 755"/>
                  <a:gd name="T9" fmla="*/ 586 h 876"/>
                  <a:gd name="T10" fmla="*/ 670 w 755"/>
                  <a:gd name="T11" fmla="*/ 577 h 876"/>
                  <a:gd name="T12" fmla="*/ 685 w 755"/>
                  <a:gd name="T13" fmla="*/ 577 h 876"/>
                  <a:gd name="T14" fmla="*/ 702 w 755"/>
                  <a:gd name="T15" fmla="*/ 586 h 876"/>
                  <a:gd name="T16" fmla="*/ 712 w 755"/>
                  <a:gd name="T17" fmla="*/ 603 h 876"/>
                  <a:gd name="T18" fmla="*/ 712 w 755"/>
                  <a:gd name="T19" fmla="*/ 618 h 876"/>
                  <a:gd name="T20" fmla="*/ 702 w 755"/>
                  <a:gd name="T21" fmla="*/ 635 h 876"/>
                  <a:gd name="T22" fmla="*/ 685 w 755"/>
                  <a:gd name="T23" fmla="*/ 646 h 876"/>
                  <a:gd name="T24" fmla="*/ 155 w 755"/>
                  <a:gd name="T25" fmla="*/ 146 h 876"/>
                  <a:gd name="T26" fmla="*/ 115 w 755"/>
                  <a:gd name="T27" fmla="*/ 532 h 876"/>
                  <a:gd name="T28" fmla="*/ 84 w 755"/>
                  <a:gd name="T29" fmla="*/ 646 h 876"/>
                  <a:gd name="T30" fmla="*/ 66 w 755"/>
                  <a:gd name="T31" fmla="*/ 635 h 876"/>
                  <a:gd name="T32" fmla="*/ 56 w 755"/>
                  <a:gd name="T33" fmla="*/ 618 h 876"/>
                  <a:gd name="T34" fmla="*/ 56 w 755"/>
                  <a:gd name="T35" fmla="*/ 603 h 876"/>
                  <a:gd name="T36" fmla="*/ 66 w 755"/>
                  <a:gd name="T37" fmla="*/ 586 h 876"/>
                  <a:gd name="T38" fmla="*/ 84 w 755"/>
                  <a:gd name="T39" fmla="*/ 577 h 876"/>
                  <a:gd name="T40" fmla="*/ 99 w 755"/>
                  <a:gd name="T41" fmla="*/ 577 h 876"/>
                  <a:gd name="T42" fmla="*/ 116 w 755"/>
                  <a:gd name="T43" fmla="*/ 586 h 876"/>
                  <a:gd name="T44" fmla="*/ 126 w 755"/>
                  <a:gd name="T45" fmla="*/ 603 h 876"/>
                  <a:gd name="T46" fmla="*/ 126 w 755"/>
                  <a:gd name="T47" fmla="*/ 618 h 876"/>
                  <a:gd name="T48" fmla="*/ 116 w 755"/>
                  <a:gd name="T49" fmla="*/ 635 h 876"/>
                  <a:gd name="T50" fmla="*/ 99 w 755"/>
                  <a:gd name="T51" fmla="*/ 646 h 876"/>
                  <a:gd name="T52" fmla="*/ 692 w 755"/>
                  <a:gd name="T53" fmla="*/ 120 h 876"/>
                  <a:gd name="T54" fmla="*/ 686 w 755"/>
                  <a:gd name="T55" fmla="*/ 100 h 876"/>
                  <a:gd name="T56" fmla="*/ 670 w 755"/>
                  <a:gd name="T57" fmla="*/ 76 h 876"/>
                  <a:gd name="T58" fmla="*/ 649 w 755"/>
                  <a:gd name="T59" fmla="*/ 61 h 876"/>
                  <a:gd name="T60" fmla="*/ 615 w 755"/>
                  <a:gd name="T61" fmla="*/ 56 h 876"/>
                  <a:gd name="T62" fmla="*/ 587 w 755"/>
                  <a:gd name="T63" fmla="*/ 51 h 876"/>
                  <a:gd name="T64" fmla="*/ 593 w 755"/>
                  <a:gd name="T65" fmla="*/ 33 h 876"/>
                  <a:gd name="T66" fmla="*/ 590 w 755"/>
                  <a:gd name="T67" fmla="*/ 21 h 876"/>
                  <a:gd name="T68" fmla="*/ 578 w 755"/>
                  <a:gd name="T69" fmla="*/ 6 h 876"/>
                  <a:gd name="T70" fmla="*/ 558 w 755"/>
                  <a:gd name="T71" fmla="*/ 0 h 876"/>
                  <a:gd name="T72" fmla="*/ 190 w 755"/>
                  <a:gd name="T73" fmla="*/ 1 h 876"/>
                  <a:gd name="T74" fmla="*/ 173 w 755"/>
                  <a:gd name="T75" fmla="*/ 10 h 876"/>
                  <a:gd name="T76" fmla="*/ 163 w 755"/>
                  <a:gd name="T77" fmla="*/ 26 h 876"/>
                  <a:gd name="T78" fmla="*/ 163 w 755"/>
                  <a:gd name="T79" fmla="*/ 40 h 876"/>
                  <a:gd name="T80" fmla="*/ 171 w 755"/>
                  <a:gd name="T81" fmla="*/ 56 h 876"/>
                  <a:gd name="T82" fmla="*/ 134 w 755"/>
                  <a:gd name="T83" fmla="*/ 57 h 876"/>
                  <a:gd name="T84" fmla="*/ 104 w 755"/>
                  <a:gd name="T85" fmla="*/ 65 h 876"/>
                  <a:gd name="T86" fmla="*/ 86 w 755"/>
                  <a:gd name="T87" fmla="*/ 81 h 876"/>
                  <a:gd name="T88" fmla="*/ 72 w 755"/>
                  <a:gd name="T89" fmla="*/ 109 h 876"/>
                  <a:gd name="T90" fmla="*/ 0 w 755"/>
                  <a:gd name="T91" fmla="*/ 664 h 876"/>
                  <a:gd name="T92" fmla="*/ 28 w 755"/>
                  <a:gd name="T93" fmla="*/ 805 h 876"/>
                  <a:gd name="T94" fmla="*/ 80 w 755"/>
                  <a:gd name="T95" fmla="*/ 876 h 876"/>
                  <a:gd name="T96" fmla="*/ 380 w 755"/>
                  <a:gd name="T97" fmla="*/ 805 h 876"/>
                  <a:gd name="T98" fmla="*/ 710 w 755"/>
                  <a:gd name="T99" fmla="*/ 876 h 876"/>
                  <a:gd name="T100" fmla="*/ 744 w 755"/>
                  <a:gd name="T101" fmla="*/ 706 h 876"/>
                  <a:gd name="T102" fmla="*/ 751 w 755"/>
                  <a:gd name="T103" fmla="*/ 417 h 8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755" h="876">
                    <a:moveTo>
                      <a:pt x="677" y="646"/>
                    </a:moveTo>
                    <a:lnTo>
                      <a:pt x="677" y="646"/>
                    </a:lnTo>
                    <a:lnTo>
                      <a:pt x="670" y="646"/>
                    </a:lnTo>
                    <a:lnTo>
                      <a:pt x="664" y="643"/>
                    </a:lnTo>
                    <a:lnTo>
                      <a:pt x="658" y="641"/>
                    </a:lnTo>
                    <a:lnTo>
                      <a:pt x="653" y="635"/>
                    </a:lnTo>
                    <a:lnTo>
                      <a:pt x="648" y="630"/>
                    </a:lnTo>
                    <a:lnTo>
                      <a:pt x="645" y="625"/>
                    </a:lnTo>
                    <a:lnTo>
                      <a:pt x="642" y="618"/>
                    </a:lnTo>
                    <a:lnTo>
                      <a:pt x="642" y="611"/>
                    </a:lnTo>
                    <a:lnTo>
                      <a:pt x="642" y="611"/>
                    </a:lnTo>
                    <a:lnTo>
                      <a:pt x="642" y="603"/>
                    </a:lnTo>
                    <a:lnTo>
                      <a:pt x="645" y="597"/>
                    </a:lnTo>
                    <a:lnTo>
                      <a:pt x="648" y="591"/>
                    </a:lnTo>
                    <a:lnTo>
                      <a:pt x="653" y="586"/>
                    </a:lnTo>
                    <a:lnTo>
                      <a:pt x="658" y="582"/>
                    </a:lnTo>
                    <a:lnTo>
                      <a:pt x="664" y="578"/>
                    </a:lnTo>
                    <a:lnTo>
                      <a:pt x="670" y="577"/>
                    </a:lnTo>
                    <a:lnTo>
                      <a:pt x="677" y="575"/>
                    </a:lnTo>
                    <a:lnTo>
                      <a:pt x="677" y="575"/>
                    </a:lnTo>
                    <a:lnTo>
                      <a:pt x="685" y="577"/>
                    </a:lnTo>
                    <a:lnTo>
                      <a:pt x="692" y="578"/>
                    </a:lnTo>
                    <a:lnTo>
                      <a:pt x="697" y="582"/>
                    </a:lnTo>
                    <a:lnTo>
                      <a:pt x="702" y="586"/>
                    </a:lnTo>
                    <a:lnTo>
                      <a:pt x="706" y="591"/>
                    </a:lnTo>
                    <a:lnTo>
                      <a:pt x="710" y="597"/>
                    </a:lnTo>
                    <a:lnTo>
                      <a:pt x="712" y="603"/>
                    </a:lnTo>
                    <a:lnTo>
                      <a:pt x="713" y="611"/>
                    </a:lnTo>
                    <a:lnTo>
                      <a:pt x="713" y="611"/>
                    </a:lnTo>
                    <a:lnTo>
                      <a:pt x="712" y="618"/>
                    </a:lnTo>
                    <a:lnTo>
                      <a:pt x="710" y="625"/>
                    </a:lnTo>
                    <a:lnTo>
                      <a:pt x="706" y="630"/>
                    </a:lnTo>
                    <a:lnTo>
                      <a:pt x="702" y="635"/>
                    </a:lnTo>
                    <a:lnTo>
                      <a:pt x="697" y="641"/>
                    </a:lnTo>
                    <a:lnTo>
                      <a:pt x="692" y="643"/>
                    </a:lnTo>
                    <a:lnTo>
                      <a:pt x="685" y="646"/>
                    </a:lnTo>
                    <a:lnTo>
                      <a:pt x="677" y="646"/>
                    </a:lnTo>
                    <a:close/>
                    <a:moveTo>
                      <a:pt x="115" y="532"/>
                    </a:moveTo>
                    <a:lnTo>
                      <a:pt x="155" y="146"/>
                    </a:lnTo>
                    <a:lnTo>
                      <a:pt x="605" y="146"/>
                    </a:lnTo>
                    <a:lnTo>
                      <a:pt x="646" y="532"/>
                    </a:lnTo>
                    <a:lnTo>
                      <a:pt x="115" y="532"/>
                    </a:lnTo>
                    <a:close/>
                    <a:moveTo>
                      <a:pt x="91" y="646"/>
                    </a:moveTo>
                    <a:lnTo>
                      <a:pt x="91" y="646"/>
                    </a:lnTo>
                    <a:lnTo>
                      <a:pt x="84" y="646"/>
                    </a:lnTo>
                    <a:lnTo>
                      <a:pt x="78" y="643"/>
                    </a:lnTo>
                    <a:lnTo>
                      <a:pt x="71" y="641"/>
                    </a:lnTo>
                    <a:lnTo>
                      <a:pt x="66" y="635"/>
                    </a:lnTo>
                    <a:lnTo>
                      <a:pt x="62" y="630"/>
                    </a:lnTo>
                    <a:lnTo>
                      <a:pt x="59" y="625"/>
                    </a:lnTo>
                    <a:lnTo>
                      <a:pt x="56" y="618"/>
                    </a:lnTo>
                    <a:lnTo>
                      <a:pt x="56" y="611"/>
                    </a:lnTo>
                    <a:lnTo>
                      <a:pt x="56" y="611"/>
                    </a:lnTo>
                    <a:lnTo>
                      <a:pt x="56" y="603"/>
                    </a:lnTo>
                    <a:lnTo>
                      <a:pt x="59" y="597"/>
                    </a:lnTo>
                    <a:lnTo>
                      <a:pt x="62" y="591"/>
                    </a:lnTo>
                    <a:lnTo>
                      <a:pt x="66" y="586"/>
                    </a:lnTo>
                    <a:lnTo>
                      <a:pt x="71" y="582"/>
                    </a:lnTo>
                    <a:lnTo>
                      <a:pt x="78" y="578"/>
                    </a:lnTo>
                    <a:lnTo>
                      <a:pt x="84" y="577"/>
                    </a:lnTo>
                    <a:lnTo>
                      <a:pt x="91" y="575"/>
                    </a:lnTo>
                    <a:lnTo>
                      <a:pt x="91" y="575"/>
                    </a:lnTo>
                    <a:lnTo>
                      <a:pt x="99" y="577"/>
                    </a:lnTo>
                    <a:lnTo>
                      <a:pt x="106" y="578"/>
                    </a:lnTo>
                    <a:lnTo>
                      <a:pt x="111" y="582"/>
                    </a:lnTo>
                    <a:lnTo>
                      <a:pt x="116" y="586"/>
                    </a:lnTo>
                    <a:lnTo>
                      <a:pt x="120" y="591"/>
                    </a:lnTo>
                    <a:lnTo>
                      <a:pt x="124" y="597"/>
                    </a:lnTo>
                    <a:lnTo>
                      <a:pt x="126" y="603"/>
                    </a:lnTo>
                    <a:lnTo>
                      <a:pt x="127" y="611"/>
                    </a:lnTo>
                    <a:lnTo>
                      <a:pt x="127" y="611"/>
                    </a:lnTo>
                    <a:lnTo>
                      <a:pt x="126" y="618"/>
                    </a:lnTo>
                    <a:lnTo>
                      <a:pt x="124" y="625"/>
                    </a:lnTo>
                    <a:lnTo>
                      <a:pt x="120" y="630"/>
                    </a:lnTo>
                    <a:lnTo>
                      <a:pt x="116" y="635"/>
                    </a:lnTo>
                    <a:lnTo>
                      <a:pt x="111" y="641"/>
                    </a:lnTo>
                    <a:lnTo>
                      <a:pt x="106" y="643"/>
                    </a:lnTo>
                    <a:lnTo>
                      <a:pt x="99" y="646"/>
                    </a:lnTo>
                    <a:lnTo>
                      <a:pt x="91" y="646"/>
                    </a:lnTo>
                    <a:close/>
                    <a:moveTo>
                      <a:pt x="751" y="417"/>
                    </a:moveTo>
                    <a:lnTo>
                      <a:pt x="692" y="120"/>
                    </a:lnTo>
                    <a:lnTo>
                      <a:pt x="692" y="120"/>
                    </a:lnTo>
                    <a:lnTo>
                      <a:pt x="689" y="109"/>
                    </a:lnTo>
                    <a:lnTo>
                      <a:pt x="686" y="100"/>
                    </a:lnTo>
                    <a:lnTo>
                      <a:pt x="680" y="88"/>
                    </a:lnTo>
                    <a:lnTo>
                      <a:pt x="676" y="81"/>
                    </a:lnTo>
                    <a:lnTo>
                      <a:pt x="670" y="76"/>
                    </a:lnTo>
                    <a:lnTo>
                      <a:pt x="665" y="71"/>
                    </a:lnTo>
                    <a:lnTo>
                      <a:pt x="657" y="65"/>
                    </a:lnTo>
                    <a:lnTo>
                      <a:pt x="649" y="61"/>
                    </a:lnTo>
                    <a:lnTo>
                      <a:pt x="640" y="59"/>
                    </a:lnTo>
                    <a:lnTo>
                      <a:pt x="628" y="57"/>
                    </a:lnTo>
                    <a:lnTo>
                      <a:pt x="615" y="56"/>
                    </a:lnTo>
                    <a:lnTo>
                      <a:pt x="583" y="56"/>
                    </a:lnTo>
                    <a:lnTo>
                      <a:pt x="583" y="56"/>
                    </a:lnTo>
                    <a:lnTo>
                      <a:pt x="587" y="51"/>
                    </a:lnTo>
                    <a:lnTo>
                      <a:pt x="590" y="45"/>
                    </a:lnTo>
                    <a:lnTo>
                      <a:pt x="591" y="40"/>
                    </a:lnTo>
                    <a:lnTo>
                      <a:pt x="593" y="33"/>
                    </a:lnTo>
                    <a:lnTo>
                      <a:pt x="593" y="33"/>
                    </a:lnTo>
                    <a:lnTo>
                      <a:pt x="591" y="26"/>
                    </a:lnTo>
                    <a:lnTo>
                      <a:pt x="590" y="21"/>
                    </a:lnTo>
                    <a:lnTo>
                      <a:pt x="586" y="14"/>
                    </a:lnTo>
                    <a:lnTo>
                      <a:pt x="582" y="10"/>
                    </a:lnTo>
                    <a:lnTo>
                      <a:pt x="578" y="6"/>
                    </a:lnTo>
                    <a:lnTo>
                      <a:pt x="571" y="2"/>
                    </a:lnTo>
                    <a:lnTo>
                      <a:pt x="566" y="1"/>
                    </a:lnTo>
                    <a:lnTo>
                      <a:pt x="558" y="0"/>
                    </a:lnTo>
                    <a:lnTo>
                      <a:pt x="197" y="0"/>
                    </a:lnTo>
                    <a:lnTo>
                      <a:pt x="197" y="0"/>
                    </a:lnTo>
                    <a:lnTo>
                      <a:pt x="190" y="1"/>
                    </a:lnTo>
                    <a:lnTo>
                      <a:pt x="183" y="2"/>
                    </a:lnTo>
                    <a:lnTo>
                      <a:pt x="178" y="6"/>
                    </a:lnTo>
                    <a:lnTo>
                      <a:pt x="173" y="10"/>
                    </a:lnTo>
                    <a:lnTo>
                      <a:pt x="169" y="14"/>
                    </a:lnTo>
                    <a:lnTo>
                      <a:pt x="166" y="21"/>
                    </a:lnTo>
                    <a:lnTo>
                      <a:pt x="163" y="26"/>
                    </a:lnTo>
                    <a:lnTo>
                      <a:pt x="163" y="33"/>
                    </a:lnTo>
                    <a:lnTo>
                      <a:pt x="163" y="33"/>
                    </a:lnTo>
                    <a:lnTo>
                      <a:pt x="163" y="40"/>
                    </a:lnTo>
                    <a:lnTo>
                      <a:pt x="165" y="45"/>
                    </a:lnTo>
                    <a:lnTo>
                      <a:pt x="167" y="51"/>
                    </a:lnTo>
                    <a:lnTo>
                      <a:pt x="171" y="56"/>
                    </a:lnTo>
                    <a:lnTo>
                      <a:pt x="147" y="56"/>
                    </a:lnTo>
                    <a:lnTo>
                      <a:pt x="147" y="56"/>
                    </a:lnTo>
                    <a:lnTo>
                      <a:pt x="134" y="57"/>
                    </a:lnTo>
                    <a:lnTo>
                      <a:pt x="123" y="59"/>
                    </a:lnTo>
                    <a:lnTo>
                      <a:pt x="112" y="61"/>
                    </a:lnTo>
                    <a:lnTo>
                      <a:pt x="104" y="65"/>
                    </a:lnTo>
                    <a:lnTo>
                      <a:pt x="96" y="71"/>
                    </a:lnTo>
                    <a:lnTo>
                      <a:pt x="91" y="76"/>
                    </a:lnTo>
                    <a:lnTo>
                      <a:pt x="86" y="81"/>
                    </a:lnTo>
                    <a:lnTo>
                      <a:pt x="82" y="88"/>
                    </a:lnTo>
                    <a:lnTo>
                      <a:pt x="75" y="100"/>
                    </a:lnTo>
                    <a:lnTo>
                      <a:pt x="72" y="109"/>
                    </a:lnTo>
                    <a:lnTo>
                      <a:pt x="70" y="120"/>
                    </a:lnTo>
                    <a:lnTo>
                      <a:pt x="4" y="417"/>
                    </a:lnTo>
                    <a:lnTo>
                      <a:pt x="0" y="664"/>
                    </a:lnTo>
                    <a:lnTo>
                      <a:pt x="11" y="686"/>
                    </a:lnTo>
                    <a:lnTo>
                      <a:pt x="11" y="706"/>
                    </a:lnTo>
                    <a:lnTo>
                      <a:pt x="28" y="805"/>
                    </a:lnTo>
                    <a:lnTo>
                      <a:pt x="43" y="805"/>
                    </a:lnTo>
                    <a:lnTo>
                      <a:pt x="43" y="876"/>
                    </a:lnTo>
                    <a:lnTo>
                      <a:pt x="80" y="876"/>
                    </a:lnTo>
                    <a:lnTo>
                      <a:pt x="80" y="805"/>
                    </a:lnTo>
                    <a:lnTo>
                      <a:pt x="373" y="805"/>
                    </a:lnTo>
                    <a:lnTo>
                      <a:pt x="380" y="805"/>
                    </a:lnTo>
                    <a:lnTo>
                      <a:pt x="673" y="805"/>
                    </a:lnTo>
                    <a:lnTo>
                      <a:pt x="673" y="876"/>
                    </a:lnTo>
                    <a:lnTo>
                      <a:pt x="710" y="876"/>
                    </a:lnTo>
                    <a:lnTo>
                      <a:pt x="710" y="805"/>
                    </a:lnTo>
                    <a:lnTo>
                      <a:pt x="727" y="805"/>
                    </a:lnTo>
                    <a:lnTo>
                      <a:pt x="744" y="706"/>
                    </a:lnTo>
                    <a:lnTo>
                      <a:pt x="744" y="686"/>
                    </a:lnTo>
                    <a:lnTo>
                      <a:pt x="755" y="664"/>
                    </a:lnTo>
                    <a:lnTo>
                      <a:pt x="751" y="4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6" name="Freeform 5">
              <a:extLst>
                <a:ext uri="{FF2B5EF4-FFF2-40B4-BE49-F238E27FC236}">
                  <a16:creationId xmlns:a16="http://schemas.microsoft.com/office/drawing/2014/main" id="{EE8B495E-A5DD-4B26-8606-5F5791A81832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8294342" y="4177056"/>
              <a:ext cx="422602" cy="553598"/>
            </a:xfrm>
            <a:custGeom>
              <a:avLst/>
              <a:gdLst>
                <a:gd name="T0" fmla="*/ 302 w 935"/>
                <a:gd name="T1" fmla="*/ 370 h 1169"/>
                <a:gd name="T2" fmla="*/ 431 w 935"/>
                <a:gd name="T3" fmla="*/ 574 h 1169"/>
                <a:gd name="T4" fmla="*/ 504 w 935"/>
                <a:gd name="T5" fmla="*/ 574 h 1169"/>
                <a:gd name="T6" fmla="*/ 633 w 935"/>
                <a:gd name="T7" fmla="*/ 370 h 1169"/>
                <a:gd name="T8" fmla="*/ 504 w 935"/>
                <a:gd name="T9" fmla="*/ 574 h 1169"/>
                <a:gd name="T10" fmla="*/ 101 w 935"/>
                <a:gd name="T11" fmla="*/ 310 h 1169"/>
                <a:gd name="T12" fmla="*/ 229 w 935"/>
                <a:gd name="T13" fmla="*/ 105 h 1169"/>
                <a:gd name="T14" fmla="*/ 302 w 935"/>
                <a:gd name="T15" fmla="*/ 310 h 1169"/>
                <a:gd name="T16" fmla="*/ 431 w 935"/>
                <a:gd name="T17" fmla="*/ 105 h 1169"/>
                <a:gd name="T18" fmla="*/ 302 w 935"/>
                <a:gd name="T19" fmla="*/ 310 h 1169"/>
                <a:gd name="T20" fmla="*/ 504 w 935"/>
                <a:gd name="T21" fmla="*/ 105 h 1169"/>
                <a:gd name="T22" fmla="*/ 633 w 935"/>
                <a:gd name="T23" fmla="*/ 310 h 1169"/>
                <a:gd name="T24" fmla="*/ 834 w 935"/>
                <a:gd name="T25" fmla="*/ 310 h 1169"/>
                <a:gd name="T26" fmla="*/ 706 w 935"/>
                <a:gd name="T27" fmla="*/ 105 h 1169"/>
                <a:gd name="T28" fmla="*/ 834 w 935"/>
                <a:gd name="T29" fmla="*/ 310 h 1169"/>
                <a:gd name="T30" fmla="*/ 706 w 935"/>
                <a:gd name="T31" fmla="*/ 574 h 1169"/>
                <a:gd name="T32" fmla="*/ 834 w 935"/>
                <a:gd name="T33" fmla="*/ 370 h 1169"/>
                <a:gd name="T34" fmla="*/ 834 w 935"/>
                <a:gd name="T35" fmla="*/ 840 h 1169"/>
                <a:gd name="T36" fmla="*/ 706 w 935"/>
                <a:gd name="T37" fmla="*/ 636 h 1169"/>
                <a:gd name="T38" fmla="*/ 834 w 935"/>
                <a:gd name="T39" fmla="*/ 840 h 1169"/>
                <a:gd name="T40" fmla="*/ 261 w 935"/>
                <a:gd name="T41" fmla="*/ 1078 h 1169"/>
                <a:gd name="T42" fmla="*/ 674 w 935"/>
                <a:gd name="T43" fmla="*/ 1035 h 1169"/>
                <a:gd name="T44" fmla="*/ 229 w 935"/>
                <a:gd name="T45" fmla="*/ 574 h 1169"/>
                <a:gd name="T46" fmla="*/ 101 w 935"/>
                <a:gd name="T47" fmla="*/ 370 h 1169"/>
                <a:gd name="T48" fmla="*/ 229 w 935"/>
                <a:gd name="T49" fmla="*/ 574 h 1169"/>
                <a:gd name="T50" fmla="*/ 101 w 935"/>
                <a:gd name="T51" fmla="*/ 840 h 1169"/>
                <a:gd name="T52" fmla="*/ 229 w 935"/>
                <a:gd name="T53" fmla="*/ 636 h 1169"/>
                <a:gd name="T54" fmla="*/ 302 w 935"/>
                <a:gd name="T55" fmla="*/ 636 h 1169"/>
                <a:gd name="T56" fmla="*/ 633 w 935"/>
                <a:gd name="T57" fmla="*/ 960 h 1169"/>
                <a:gd name="T58" fmla="*/ 302 w 935"/>
                <a:gd name="T59" fmla="*/ 636 h 1169"/>
                <a:gd name="T60" fmla="*/ 0 w 935"/>
                <a:gd name="T61" fmla="*/ 1169 h 1169"/>
                <a:gd name="T62" fmla="*/ 935 w 935"/>
                <a:gd name="T63" fmla="*/ 0 h 1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35" h="1169">
                  <a:moveTo>
                    <a:pt x="302" y="574"/>
                  </a:moveTo>
                  <a:lnTo>
                    <a:pt x="302" y="370"/>
                  </a:lnTo>
                  <a:lnTo>
                    <a:pt x="431" y="370"/>
                  </a:lnTo>
                  <a:lnTo>
                    <a:pt x="431" y="574"/>
                  </a:lnTo>
                  <a:lnTo>
                    <a:pt x="302" y="574"/>
                  </a:lnTo>
                  <a:close/>
                  <a:moveTo>
                    <a:pt x="504" y="574"/>
                  </a:moveTo>
                  <a:lnTo>
                    <a:pt x="504" y="370"/>
                  </a:lnTo>
                  <a:lnTo>
                    <a:pt x="633" y="370"/>
                  </a:lnTo>
                  <a:lnTo>
                    <a:pt x="633" y="574"/>
                  </a:lnTo>
                  <a:lnTo>
                    <a:pt x="504" y="574"/>
                  </a:lnTo>
                  <a:close/>
                  <a:moveTo>
                    <a:pt x="229" y="310"/>
                  </a:moveTo>
                  <a:lnTo>
                    <a:pt x="101" y="310"/>
                  </a:lnTo>
                  <a:lnTo>
                    <a:pt x="101" y="105"/>
                  </a:lnTo>
                  <a:lnTo>
                    <a:pt x="229" y="105"/>
                  </a:lnTo>
                  <a:lnTo>
                    <a:pt x="229" y="310"/>
                  </a:lnTo>
                  <a:close/>
                  <a:moveTo>
                    <a:pt x="302" y="310"/>
                  </a:moveTo>
                  <a:lnTo>
                    <a:pt x="302" y="105"/>
                  </a:lnTo>
                  <a:lnTo>
                    <a:pt x="431" y="105"/>
                  </a:lnTo>
                  <a:lnTo>
                    <a:pt x="431" y="310"/>
                  </a:lnTo>
                  <a:lnTo>
                    <a:pt x="302" y="310"/>
                  </a:lnTo>
                  <a:close/>
                  <a:moveTo>
                    <a:pt x="504" y="310"/>
                  </a:moveTo>
                  <a:lnTo>
                    <a:pt x="504" y="105"/>
                  </a:lnTo>
                  <a:lnTo>
                    <a:pt x="633" y="105"/>
                  </a:lnTo>
                  <a:lnTo>
                    <a:pt x="633" y="310"/>
                  </a:lnTo>
                  <a:lnTo>
                    <a:pt x="504" y="310"/>
                  </a:lnTo>
                  <a:close/>
                  <a:moveTo>
                    <a:pt x="834" y="310"/>
                  </a:moveTo>
                  <a:lnTo>
                    <a:pt x="706" y="310"/>
                  </a:lnTo>
                  <a:lnTo>
                    <a:pt x="706" y="105"/>
                  </a:lnTo>
                  <a:lnTo>
                    <a:pt x="834" y="105"/>
                  </a:lnTo>
                  <a:lnTo>
                    <a:pt x="834" y="310"/>
                  </a:lnTo>
                  <a:close/>
                  <a:moveTo>
                    <a:pt x="834" y="574"/>
                  </a:moveTo>
                  <a:lnTo>
                    <a:pt x="706" y="574"/>
                  </a:lnTo>
                  <a:lnTo>
                    <a:pt x="706" y="370"/>
                  </a:lnTo>
                  <a:lnTo>
                    <a:pt x="834" y="370"/>
                  </a:lnTo>
                  <a:lnTo>
                    <a:pt x="834" y="574"/>
                  </a:lnTo>
                  <a:close/>
                  <a:moveTo>
                    <a:pt x="834" y="840"/>
                  </a:moveTo>
                  <a:lnTo>
                    <a:pt x="706" y="840"/>
                  </a:lnTo>
                  <a:lnTo>
                    <a:pt x="706" y="636"/>
                  </a:lnTo>
                  <a:lnTo>
                    <a:pt x="834" y="636"/>
                  </a:lnTo>
                  <a:lnTo>
                    <a:pt x="834" y="840"/>
                  </a:lnTo>
                  <a:close/>
                  <a:moveTo>
                    <a:pt x="674" y="1078"/>
                  </a:moveTo>
                  <a:lnTo>
                    <a:pt x="261" y="1078"/>
                  </a:lnTo>
                  <a:lnTo>
                    <a:pt x="261" y="1035"/>
                  </a:lnTo>
                  <a:lnTo>
                    <a:pt x="674" y="1035"/>
                  </a:lnTo>
                  <a:lnTo>
                    <a:pt x="674" y="1078"/>
                  </a:lnTo>
                  <a:close/>
                  <a:moveTo>
                    <a:pt x="229" y="574"/>
                  </a:moveTo>
                  <a:lnTo>
                    <a:pt x="101" y="574"/>
                  </a:lnTo>
                  <a:lnTo>
                    <a:pt x="101" y="370"/>
                  </a:lnTo>
                  <a:lnTo>
                    <a:pt x="229" y="370"/>
                  </a:lnTo>
                  <a:lnTo>
                    <a:pt x="229" y="574"/>
                  </a:lnTo>
                  <a:close/>
                  <a:moveTo>
                    <a:pt x="229" y="840"/>
                  </a:moveTo>
                  <a:lnTo>
                    <a:pt x="101" y="840"/>
                  </a:lnTo>
                  <a:lnTo>
                    <a:pt x="101" y="636"/>
                  </a:lnTo>
                  <a:lnTo>
                    <a:pt x="229" y="636"/>
                  </a:lnTo>
                  <a:lnTo>
                    <a:pt x="229" y="840"/>
                  </a:lnTo>
                  <a:close/>
                  <a:moveTo>
                    <a:pt x="302" y="636"/>
                  </a:moveTo>
                  <a:lnTo>
                    <a:pt x="633" y="636"/>
                  </a:lnTo>
                  <a:lnTo>
                    <a:pt x="633" y="960"/>
                  </a:lnTo>
                  <a:lnTo>
                    <a:pt x="302" y="960"/>
                  </a:lnTo>
                  <a:lnTo>
                    <a:pt x="302" y="636"/>
                  </a:lnTo>
                  <a:close/>
                  <a:moveTo>
                    <a:pt x="0" y="0"/>
                  </a:moveTo>
                  <a:lnTo>
                    <a:pt x="0" y="1169"/>
                  </a:lnTo>
                  <a:lnTo>
                    <a:pt x="935" y="1169"/>
                  </a:lnTo>
                  <a:lnTo>
                    <a:pt x="935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ihandform 28">
              <a:extLst>
                <a:ext uri="{FF2B5EF4-FFF2-40B4-BE49-F238E27FC236}">
                  <a16:creationId xmlns:a16="http://schemas.microsoft.com/office/drawing/2014/main" id="{87D56E7E-26C1-42A9-A167-7DDD0B33E97B}"/>
                </a:ext>
              </a:extLst>
            </p:cNvPr>
            <p:cNvSpPr/>
            <p:nvPr/>
          </p:nvSpPr>
          <p:spPr bwMode="gray">
            <a:xfrm rot="20239983">
              <a:off x="8057773" y="2658575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grpSp>
          <p:nvGrpSpPr>
            <p:cNvPr id="78" name="Gruppieren 3">
              <a:extLst>
                <a:ext uri="{FF2B5EF4-FFF2-40B4-BE49-F238E27FC236}">
                  <a16:creationId xmlns:a16="http://schemas.microsoft.com/office/drawing/2014/main" id="{52F86441-289C-41CC-8486-A787623A093F}"/>
                </a:ext>
              </a:extLst>
            </p:cNvPr>
            <p:cNvGrpSpPr/>
            <p:nvPr>
              <p:custDataLst>
                <p:tags r:id="rId3"/>
              </p:custDataLst>
            </p:nvPr>
          </p:nvGrpSpPr>
          <p:grpSpPr bwMode="gray">
            <a:xfrm>
              <a:off x="8134918" y="2930206"/>
              <a:ext cx="718218" cy="362010"/>
              <a:chOff x="4164731" y="2934412"/>
              <a:chExt cx="718218" cy="362010"/>
            </a:xfrm>
            <a:solidFill>
              <a:srgbClr val="505A64"/>
            </a:solidFill>
          </p:grpSpPr>
          <p:sp>
            <p:nvSpPr>
              <p:cNvPr id="81" name="Freeform 51">
                <a:extLst>
                  <a:ext uri="{FF2B5EF4-FFF2-40B4-BE49-F238E27FC236}">
                    <a16:creationId xmlns:a16="http://schemas.microsoft.com/office/drawing/2014/main" id="{D8982726-CF4D-461A-865F-634C9BB2A07A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6268" y="2934412"/>
                <a:ext cx="336681" cy="362010"/>
              </a:xfrm>
              <a:custGeom>
                <a:avLst/>
                <a:gdLst>
                  <a:gd name="T0" fmla="*/ 37 w 372"/>
                  <a:gd name="T1" fmla="*/ 25 h 400"/>
                  <a:gd name="T2" fmla="*/ 94 w 372"/>
                  <a:gd name="T3" fmla="*/ 42 h 400"/>
                  <a:gd name="T4" fmla="*/ 85 w 372"/>
                  <a:gd name="T5" fmla="*/ 60 h 400"/>
                  <a:gd name="T6" fmla="*/ 44 w 372"/>
                  <a:gd name="T7" fmla="*/ 45 h 400"/>
                  <a:gd name="T8" fmla="*/ 5 w 372"/>
                  <a:gd name="T9" fmla="*/ 106 h 400"/>
                  <a:gd name="T10" fmla="*/ 0 w 372"/>
                  <a:gd name="T11" fmla="*/ 96 h 400"/>
                  <a:gd name="T12" fmla="*/ 37 w 372"/>
                  <a:gd name="T13" fmla="*/ 25 h 400"/>
                  <a:gd name="T14" fmla="*/ 116 w 372"/>
                  <a:gd name="T15" fmla="*/ 93 h 400"/>
                  <a:gd name="T16" fmla="*/ 93 w 372"/>
                  <a:gd name="T17" fmla="*/ 145 h 400"/>
                  <a:gd name="T18" fmla="*/ 15 w 372"/>
                  <a:gd name="T19" fmla="*/ 128 h 400"/>
                  <a:gd name="T20" fmla="*/ 10 w 372"/>
                  <a:gd name="T21" fmla="*/ 118 h 400"/>
                  <a:gd name="T22" fmla="*/ 78 w 372"/>
                  <a:gd name="T23" fmla="*/ 129 h 400"/>
                  <a:gd name="T24" fmla="*/ 96 w 372"/>
                  <a:gd name="T25" fmla="*/ 86 h 400"/>
                  <a:gd name="T26" fmla="*/ 115 w 372"/>
                  <a:gd name="T27" fmla="*/ 93 h 400"/>
                  <a:gd name="T28" fmla="*/ 116 w 372"/>
                  <a:gd name="T29" fmla="*/ 93 h 400"/>
                  <a:gd name="T30" fmla="*/ 178 w 372"/>
                  <a:gd name="T31" fmla="*/ 273 h 400"/>
                  <a:gd name="T32" fmla="*/ 325 w 372"/>
                  <a:gd name="T33" fmla="*/ 273 h 400"/>
                  <a:gd name="T34" fmla="*/ 325 w 372"/>
                  <a:gd name="T35" fmla="*/ 400 h 400"/>
                  <a:gd name="T36" fmla="*/ 178 w 372"/>
                  <a:gd name="T37" fmla="*/ 400 h 400"/>
                  <a:gd name="T38" fmla="*/ 178 w 372"/>
                  <a:gd name="T39" fmla="*/ 273 h 400"/>
                  <a:gd name="T40" fmla="*/ 318 w 372"/>
                  <a:gd name="T41" fmla="*/ 26 h 400"/>
                  <a:gd name="T42" fmla="*/ 345 w 372"/>
                  <a:gd name="T43" fmla="*/ 0 h 400"/>
                  <a:gd name="T44" fmla="*/ 372 w 372"/>
                  <a:gd name="T45" fmla="*/ 26 h 400"/>
                  <a:gd name="T46" fmla="*/ 345 w 372"/>
                  <a:gd name="T47" fmla="*/ 53 h 400"/>
                  <a:gd name="T48" fmla="*/ 318 w 372"/>
                  <a:gd name="T49" fmla="*/ 26 h 400"/>
                  <a:gd name="T50" fmla="*/ 92 w 372"/>
                  <a:gd name="T51" fmla="*/ 63 h 400"/>
                  <a:gd name="T52" fmla="*/ 115 w 372"/>
                  <a:gd name="T53" fmla="*/ 40 h 400"/>
                  <a:gd name="T54" fmla="*/ 138 w 372"/>
                  <a:gd name="T55" fmla="*/ 63 h 400"/>
                  <a:gd name="T56" fmla="*/ 115 w 372"/>
                  <a:gd name="T57" fmla="*/ 86 h 400"/>
                  <a:gd name="T58" fmla="*/ 92 w 372"/>
                  <a:gd name="T59" fmla="*/ 63 h 400"/>
                  <a:gd name="T60" fmla="*/ 138 w 372"/>
                  <a:gd name="T61" fmla="*/ 206 h 400"/>
                  <a:gd name="T62" fmla="*/ 192 w 372"/>
                  <a:gd name="T63" fmla="*/ 153 h 400"/>
                  <a:gd name="T64" fmla="*/ 233 w 372"/>
                  <a:gd name="T65" fmla="*/ 173 h 400"/>
                  <a:gd name="T66" fmla="*/ 325 w 372"/>
                  <a:gd name="T67" fmla="*/ 266 h 400"/>
                  <a:gd name="T68" fmla="*/ 178 w 372"/>
                  <a:gd name="T69" fmla="*/ 266 h 400"/>
                  <a:gd name="T70" fmla="*/ 160 w 372"/>
                  <a:gd name="T71" fmla="*/ 249 h 400"/>
                  <a:gd name="T72" fmla="*/ 138 w 372"/>
                  <a:gd name="T73" fmla="*/ 206 h 400"/>
                  <a:gd name="T74" fmla="*/ 175 w 372"/>
                  <a:gd name="T75" fmla="*/ 149 h 400"/>
                  <a:gd name="T76" fmla="*/ 312 w 372"/>
                  <a:gd name="T77" fmla="*/ 21 h 400"/>
                  <a:gd name="T78" fmla="*/ 312 w 372"/>
                  <a:gd name="T79" fmla="*/ 26 h 400"/>
                  <a:gd name="T80" fmla="*/ 345 w 372"/>
                  <a:gd name="T81" fmla="*/ 60 h 400"/>
                  <a:gd name="T82" fmla="*/ 356 w 372"/>
                  <a:gd name="T83" fmla="*/ 58 h 400"/>
                  <a:gd name="T84" fmla="*/ 264 w 372"/>
                  <a:gd name="T85" fmla="*/ 195 h 400"/>
                  <a:gd name="T86" fmla="*/ 230 w 372"/>
                  <a:gd name="T87" fmla="*/ 160 h 400"/>
                  <a:gd name="T88" fmla="*/ 192 w 372"/>
                  <a:gd name="T89" fmla="*/ 146 h 400"/>
                  <a:gd name="T90" fmla="*/ 175 w 372"/>
                  <a:gd name="T91" fmla="*/ 149 h 400"/>
                  <a:gd name="T92" fmla="*/ 129 w 372"/>
                  <a:gd name="T93" fmla="*/ 37 h 400"/>
                  <a:gd name="T94" fmla="*/ 321 w 372"/>
                  <a:gd name="T95" fmla="*/ 3 h 400"/>
                  <a:gd name="T96" fmla="*/ 253 w 372"/>
                  <a:gd name="T97" fmla="*/ 67 h 400"/>
                  <a:gd name="T98" fmla="*/ 137 w 372"/>
                  <a:gd name="T99" fmla="*/ 83 h 400"/>
                  <a:gd name="T100" fmla="*/ 145 w 372"/>
                  <a:gd name="T101" fmla="*/ 63 h 400"/>
                  <a:gd name="T102" fmla="*/ 129 w 372"/>
                  <a:gd name="T103" fmla="*/ 37 h 4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72" h="400">
                    <a:moveTo>
                      <a:pt x="37" y="25"/>
                    </a:moveTo>
                    <a:cubicBezTo>
                      <a:pt x="94" y="42"/>
                      <a:pt x="94" y="42"/>
                      <a:pt x="94" y="42"/>
                    </a:cubicBezTo>
                    <a:cubicBezTo>
                      <a:pt x="89" y="46"/>
                      <a:pt x="86" y="53"/>
                      <a:pt x="85" y="60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5" y="106"/>
                      <a:pt x="5" y="106"/>
                      <a:pt x="5" y="106"/>
                    </a:cubicBezTo>
                    <a:cubicBezTo>
                      <a:pt x="0" y="96"/>
                      <a:pt x="0" y="96"/>
                      <a:pt x="0" y="96"/>
                    </a:cubicBezTo>
                    <a:lnTo>
                      <a:pt x="37" y="25"/>
                    </a:lnTo>
                    <a:close/>
                    <a:moveTo>
                      <a:pt x="116" y="93"/>
                    </a:moveTo>
                    <a:cubicBezTo>
                      <a:pt x="93" y="145"/>
                      <a:pt x="93" y="145"/>
                      <a:pt x="93" y="145"/>
                    </a:cubicBezTo>
                    <a:cubicBezTo>
                      <a:pt x="15" y="128"/>
                      <a:pt x="15" y="128"/>
                      <a:pt x="15" y="128"/>
                    </a:cubicBezTo>
                    <a:cubicBezTo>
                      <a:pt x="10" y="118"/>
                      <a:pt x="10" y="118"/>
                      <a:pt x="10" y="118"/>
                    </a:cubicBezTo>
                    <a:cubicBezTo>
                      <a:pt x="78" y="129"/>
                      <a:pt x="78" y="129"/>
                      <a:pt x="78" y="129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101" y="90"/>
                      <a:pt x="108" y="93"/>
                      <a:pt x="115" y="93"/>
                    </a:cubicBezTo>
                    <a:cubicBezTo>
                      <a:pt x="115" y="93"/>
                      <a:pt x="116" y="93"/>
                      <a:pt x="116" y="93"/>
                    </a:cubicBezTo>
                    <a:close/>
                    <a:moveTo>
                      <a:pt x="178" y="273"/>
                    </a:moveTo>
                    <a:cubicBezTo>
                      <a:pt x="325" y="273"/>
                      <a:pt x="325" y="273"/>
                      <a:pt x="325" y="273"/>
                    </a:cubicBezTo>
                    <a:cubicBezTo>
                      <a:pt x="325" y="400"/>
                      <a:pt x="325" y="400"/>
                      <a:pt x="325" y="400"/>
                    </a:cubicBezTo>
                    <a:cubicBezTo>
                      <a:pt x="178" y="400"/>
                      <a:pt x="178" y="400"/>
                      <a:pt x="178" y="400"/>
                    </a:cubicBezTo>
                    <a:lnTo>
                      <a:pt x="178" y="273"/>
                    </a:lnTo>
                    <a:close/>
                    <a:moveTo>
                      <a:pt x="318" y="26"/>
                    </a:moveTo>
                    <a:cubicBezTo>
                      <a:pt x="318" y="12"/>
                      <a:pt x="330" y="0"/>
                      <a:pt x="345" y="0"/>
                    </a:cubicBezTo>
                    <a:cubicBezTo>
                      <a:pt x="360" y="0"/>
                      <a:pt x="372" y="12"/>
                      <a:pt x="372" y="26"/>
                    </a:cubicBezTo>
                    <a:cubicBezTo>
                      <a:pt x="372" y="41"/>
                      <a:pt x="360" y="53"/>
                      <a:pt x="345" y="53"/>
                    </a:cubicBezTo>
                    <a:cubicBezTo>
                      <a:pt x="330" y="53"/>
                      <a:pt x="318" y="41"/>
                      <a:pt x="318" y="26"/>
                    </a:cubicBezTo>
                    <a:close/>
                    <a:moveTo>
                      <a:pt x="92" y="63"/>
                    </a:moveTo>
                    <a:cubicBezTo>
                      <a:pt x="92" y="50"/>
                      <a:pt x="102" y="40"/>
                      <a:pt x="115" y="40"/>
                    </a:cubicBezTo>
                    <a:cubicBezTo>
                      <a:pt x="128" y="40"/>
                      <a:pt x="138" y="50"/>
                      <a:pt x="138" y="63"/>
                    </a:cubicBezTo>
                    <a:cubicBezTo>
                      <a:pt x="138" y="76"/>
                      <a:pt x="128" y="86"/>
                      <a:pt x="115" y="86"/>
                    </a:cubicBezTo>
                    <a:cubicBezTo>
                      <a:pt x="102" y="86"/>
                      <a:pt x="92" y="76"/>
                      <a:pt x="92" y="63"/>
                    </a:cubicBezTo>
                    <a:close/>
                    <a:moveTo>
                      <a:pt x="138" y="206"/>
                    </a:moveTo>
                    <a:cubicBezTo>
                      <a:pt x="138" y="177"/>
                      <a:pt x="162" y="153"/>
                      <a:pt x="192" y="153"/>
                    </a:cubicBezTo>
                    <a:cubicBezTo>
                      <a:pt x="208" y="153"/>
                      <a:pt x="224" y="161"/>
                      <a:pt x="233" y="173"/>
                    </a:cubicBezTo>
                    <a:cubicBezTo>
                      <a:pt x="325" y="266"/>
                      <a:pt x="325" y="266"/>
                      <a:pt x="325" y="266"/>
                    </a:cubicBezTo>
                    <a:cubicBezTo>
                      <a:pt x="178" y="266"/>
                      <a:pt x="178" y="266"/>
                      <a:pt x="178" y="266"/>
                    </a:cubicBezTo>
                    <a:cubicBezTo>
                      <a:pt x="160" y="249"/>
                      <a:pt x="160" y="249"/>
                      <a:pt x="160" y="249"/>
                    </a:cubicBezTo>
                    <a:cubicBezTo>
                      <a:pt x="147" y="240"/>
                      <a:pt x="138" y="224"/>
                      <a:pt x="138" y="206"/>
                    </a:cubicBezTo>
                    <a:close/>
                    <a:moveTo>
                      <a:pt x="175" y="149"/>
                    </a:moveTo>
                    <a:cubicBezTo>
                      <a:pt x="312" y="21"/>
                      <a:pt x="312" y="21"/>
                      <a:pt x="312" y="21"/>
                    </a:cubicBezTo>
                    <a:cubicBezTo>
                      <a:pt x="312" y="22"/>
                      <a:pt x="312" y="24"/>
                      <a:pt x="312" y="26"/>
                    </a:cubicBezTo>
                    <a:cubicBezTo>
                      <a:pt x="312" y="45"/>
                      <a:pt x="327" y="60"/>
                      <a:pt x="345" y="60"/>
                    </a:cubicBezTo>
                    <a:cubicBezTo>
                      <a:pt x="349" y="60"/>
                      <a:pt x="352" y="59"/>
                      <a:pt x="356" y="58"/>
                    </a:cubicBezTo>
                    <a:cubicBezTo>
                      <a:pt x="264" y="195"/>
                      <a:pt x="264" y="195"/>
                      <a:pt x="264" y="195"/>
                    </a:cubicBezTo>
                    <a:cubicBezTo>
                      <a:pt x="264" y="195"/>
                      <a:pt x="233" y="163"/>
                      <a:pt x="230" y="160"/>
                    </a:cubicBezTo>
                    <a:cubicBezTo>
                      <a:pt x="220" y="152"/>
                      <a:pt x="206" y="146"/>
                      <a:pt x="192" y="146"/>
                    </a:cubicBezTo>
                    <a:cubicBezTo>
                      <a:pt x="186" y="146"/>
                      <a:pt x="181" y="147"/>
                      <a:pt x="175" y="149"/>
                    </a:cubicBezTo>
                    <a:close/>
                    <a:moveTo>
                      <a:pt x="129" y="37"/>
                    </a:moveTo>
                    <a:cubicBezTo>
                      <a:pt x="321" y="3"/>
                      <a:pt x="321" y="3"/>
                      <a:pt x="321" y="3"/>
                    </a:cubicBezTo>
                    <a:cubicBezTo>
                      <a:pt x="253" y="67"/>
                      <a:pt x="253" y="67"/>
                      <a:pt x="253" y="67"/>
                    </a:cubicBezTo>
                    <a:cubicBezTo>
                      <a:pt x="137" y="83"/>
                      <a:pt x="137" y="83"/>
                      <a:pt x="137" y="83"/>
                    </a:cubicBezTo>
                    <a:cubicBezTo>
                      <a:pt x="142" y="78"/>
                      <a:pt x="145" y="71"/>
                      <a:pt x="145" y="63"/>
                    </a:cubicBezTo>
                    <a:cubicBezTo>
                      <a:pt x="145" y="52"/>
                      <a:pt x="139" y="42"/>
                      <a:pt x="129" y="3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42">
                <a:extLst>
                  <a:ext uri="{FF2B5EF4-FFF2-40B4-BE49-F238E27FC236}">
                    <a16:creationId xmlns:a16="http://schemas.microsoft.com/office/drawing/2014/main" id="{71A86086-07B2-4821-BCAB-9DAAE67A0B2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44419" y="2953410"/>
                <a:ext cx="90239" cy="82323"/>
              </a:xfrm>
              <a:custGeom>
                <a:avLst/>
                <a:gdLst>
                  <a:gd name="T0" fmla="*/ 92 w 100"/>
                  <a:gd name="T1" fmla="*/ 91 h 91"/>
                  <a:gd name="T2" fmla="*/ 51 w 100"/>
                  <a:gd name="T3" fmla="*/ 28 h 91"/>
                  <a:gd name="T4" fmla="*/ 12 w 100"/>
                  <a:gd name="T5" fmla="*/ 42 h 91"/>
                  <a:gd name="T6" fmla="*/ 12 w 100"/>
                  <a:gd name="T7" fmla="*/ 38 h 91"/>
                  <a:gd name="T8" fmla="*/ 4 w 100"/>
                  <a:gd name="T9" fmla="*/ 22 h 91"/>
                  <a:gd name="T10" fmla="*/ 0 w 100"/>
                  <a:gd name="T11" fmla="*/ 18 h 91"/>
                  <a:gd name="T12" fmla="*/ 60 w 100"/>
                  <a:gd name="T13" fmla="*/ 0 h 91"/>
                  <a:gd name="T14" fmla="*/ 100 w 100"/>
                  <a:gd name="T15" fmla="*/ 75 h 91"/>
                  <a:gd name="T16" fmla="*/ 92 w 100"/>
                  <a:gd name="T17" fmla="*/ 91 h 91"/>
                  <a:gd name="T18" fmla="*/ 53 w 100"/>
                  <a:gd name="T19" fmla="*/ 20 h 91"/>
                  <a:gd name="T20" fmla="*/ 91 w 100"/>
                  <a:gd name="T21" fmla="*/ 78 h 91"/>
                  <a:gd name="T22" fmla="*/ 92 w 100"/>
                  <a:gd name="T23" fmla="*/ 75 h 91"/>
                  <a:gd name="T24" fmla="*/ 57 w 100"/>
                  <a:gd name="T25" fmla="*/ 8 h 91"/>
                  <a:gd name="T26" fmla="*/ 12 w 100"/>
                  <a:gd name="T27" fmla="*/ 21 h 91"/>
                  <a:gd name="T28" fmla="*/ 18 w 100"/>
                  <a:gd name="T29" fmla="*/ 33 h 91"/>
                  <a:gd name="T30" fmla="*/ 53 w 100"/>
                  <a:gd name="T31" fmla="*/ 20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91">
                    <a:moveTo>
                      <a:pt x="92" y="91"/>
                    </a:moveTo>
                    <a:cubicBezTo>
                      <a:pt x="51" y="28"/>
                      <a:pt x="51" y="28"/>
                      <a:pt x="51" y="28"/>
                    </a:cubicBezTo>
                    <a:cubicBezTo>
                      <a:pt x="12" y="42"/>
                      <a:pt x="12" y="42"/>
                      <a:pt x="12" y="42"/>
                    </a:cubicBezTo>
                    <a:cubicBezTo>
                      <a:pt x="12" y="38"/>
                      <a:pt x="12" y="38"/>
                      <a:pt x="12" y="38"/>
                    </a:cubicBezTo>
                    <a:cubicBezTo>
                      <a:pt x="11" y="32"/>
                      <a:pt x="8" y="26"/>
                      <a:pt x="4" y="22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100" y="75"/>
                      <a:pt x="100" y="75"/>
                      <a:pt x="100" y="75"/>
                    </a:cubicBezTo>
                    <a:lnTo>
                      <a:pt x="92" y="91"/>
                    </a:lnTo>
                    <a:close/>
                    <a:moveTo>
                      <a:pt x="53" y="20"/>
                    </a:moveTo>
                    <a:cubicBezTo>
                      <a:pt x="91" y="78"/>
                      <a:pt x="91" y="78"/>
                      <a:pt x="91" y="78"/>
                    </a:cubicBezTo>
                    <a:cubicBezTo>
                      <a:pt x="92" y="75"/>
                      <a:pt x="92" y="75"/>
                      <a:pt x="92" y="75"/>
                    </a:cubicBezTo>
                    <a:cubicBezTo>
                      <a:pt x="57" y="8"/>
                      <a:pt x="57" y="8"/>
                      <a:pt x="57" y="8"/>
                    </a:cubicBezTo>
                    <a:cubicBezTo>
                      <a:pt x="12" y="21"/>
                      <a:pt x="12" y="21"/>
                      <a:pt x="12" y="21"/>
                    </a:cubicBezTo>
                    <a:cubicBezTo>
                      <a:pt x="15" y="25"/>
                      <a:pt x="17" y="29"/>
                      <a:pt x="18" y="33"/>
                    </a:cubicBezTo>
                    <a:lnTo>
                      <a:pt x="53" y="2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Freeform 43">
                <a:extLst>
                  <a:ext uri="{FF2B5EF4-FFF2-40B4-BE49-F238E27FC236}">
                    <a16:creationId xmlns:a16="http://schemas.microsoft.com/office/drawing/2014/main" id="{396494E3-D8BB-4069-8C7D-0DA7D9418F6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2783" y="3011458"/>
                <a:ext cx="103959" cy="58048"/>
              </a:xfrm>
              <a:custGeom>
                <a:avLst/>
                <a:gdLst>
                  <a:gd name="T0" fmla="*/ 25 w 115"/>
                  <a:gd name="T1" fmla="*/ 64 h 64"/>
                  <a:gd name="T2" fmla="*/ 0 w 115"/>
                  <a:gd name="T3" fmla="*/ 8 h 64"/>
                  <a:gd name="T4" fmla="*/ 6 w 115"/>
                  <a:gd name="T5" fmla="*/ 9 h 64"/>
                  <a:gd name="T6" fmla="*/ 7 w 115"/>
                  <a:gd name="T7" fmla="*/ 9 h 64"/>
                  <a:gd name="T8" fmla="*/ 24 w 115"/>
                  <a:gd name="T9" fmla="*/ 2 h 64"/>
                  <a:gd name="T10" fmla="*/ 27 w 115"/>
                  <a:gd name="T11" fmla="*/ 0 h 64"/>
                  <a:gd name="T12" fmla="*/ 44 w 115"/>
                  <a:gd name="T13" fmla="*/ 40 h 64"/>
                  <a:gd name="T14" fmla="*/ 115 w 115"/>
                  <a:gd name="T15" fmla="*/ 29 h 64"/>
                  <a:gd name="T16" fmla="*/ 108 w 115"/>
                  <a:gd name="T17" fmla="*/ 46 h 64"/>
                  <a:gd name="T18" fmla="*/ 25 w 115"/>
                  <a:gd name="T19" fmla="*/ 64 h 64"/>
                  <a:gd name="T20" fmla="*/ 11 w 115"/>
                  <a:gd name="T21" fmla="*/ 15 h 64"/>
                  <a:gd name="T22" fmla="*/ 29 w 115"/>
                  <a:gd name="T23" fmla="*/ 56 h 64"/>
                  <a:gd name="T24" fmla="*/ 103 w 115"/>
                  <a:gd name="T25" fmla="*/ 40 h 64"/>
                  <a:gd name="T26" fmla="*/ 104 w 115"/>
                  <a:gd name="T27" fmla="*/ 37 h 64"/>
                  <a:gd name="T28" fmla="*/ 40 w 115"/>
                  <a:gd name="T29" fmla="*/ 47 h 64"/>
                  <a:gd name="T30" fmla="*/ 24 w 115"/>
                  <a:gd name="T31" fmla="*/ 10 h 64"/>
                  <a:gd name="T32" fmla="*/ 11 w 115"/>
                  <a:gd name="T33" fmla="*/ 15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5" h="64">
                    <a:moveTo>
                      <a:pt x="25" y="64"/>
                    </a:moveTo>
                    <a:cubicBezTo>
                      <a:pt x="0" y="8"/>
                      <a:pt x="0" y="8"/>
                      <a:pt x="0" y="8"/>
                    </a:cubicBezTo>
                    <a:cubicBezTo>
                      <a:pt x="6" y="9"/>
                      <a:pt x="6" y="9"/>
                      <a:pt x="6" y="9"/>
                    </a:cubicBezTo>
                    <a:cubicBezTo>
                      <a:pt x="6" y="9"/>
                      <a:pt x="6" y="9"/>
                      <a:pt x="7" y="9"/>
                    </a:cubicBezTo>
                    <a:cubicBezTo>
                      <a:pt x="13" y="9"/>
                      <a:pt x="19" y="6"/>
                      <a:pt x="24" y="2"/>
                    </a:cubicBezTo>
                    <a:cubicBezTo>
                      <a:pt x="27" y="0"/>
                      <a:pt x="27" y="0"/>
                      <a:pt x="27" y="0"/>
                    </a:cubicBezTo>
                    <a:cubicBezTo>
                      <a:pt x="44" y="40"/>
                      <a:pt x="44" y="40"/>
                      <a:pt x="44" y="40"/>
                    </a:cubicBezTo>
                    <a:cubicBezTo>
                      <a:pt x="115" y="29"/>
                      <a:pt x="115" y="29"/>
                      <a:pt x="115" y="29"/>
                    </a:cubicBezTo>
                    <a:cubicBezTo>
                      <a:pt x="108" y="46"/>
                      <a:pt x="108" y="46"/>
                      <a:pt x="108" y="46"/>
                    </a:cubicBezTo>
                    <a:lnTo>
                      <a:pt x="25" y="64"/>
                    </a:lnTo>
                    <a:close/>
                    <a:moveTo>
                      <a:pt x="11" y="15"/>
                    </a:moveTo>
                    <a:cubicBezTo>
                      <a:pt x="29" y="56"/>
                      <a:pt x="29" y="56"/>
                      <a:pt x="29" y="56"/>
                    </a:cubicBezTo>
                    <a:cubicBezTo>
                      <a:pt x="103" y="40"/>
                      <a:pt x="103" y="40"/>
                      <a:pt x="103" y="40"/>
                    </a:cubicBezTo>
                    <a:cubicBezTo>
                      <a:pt x="104" y="37"/>
                      <a:pt x="104" y="37"/>
                      <a:pt x="104" y="37"/>
                    </a:cubicBezTo>
                    <a:cubicBezTo>
                      <a:pt x="40" y="47"/>
                      <a:pt x="40" y="47"/>
                      <a:pt x="40" y="47"/>
                    </a:cubicBezTo>
                    <a:cubicBezTo>
                      <a:pt x="24" y="10"/>
                      <a:pt x="24" y="10"/>
                      <a:pt x="24" y="10"/>
                    </a:cubicBezTo>
                    <a:cubicBezTo>
                      <a:pt x="20" y="13"/>
                      <a:pt x="15" y="15"/>
                      <a:pt x="11" y="15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44">
                <a:extLst>
                  <a:ext uri="{FF2B5EF4-FFF2-40B4-BE49-F238E27FC236}">
                    <a16:creationId xmlns:a16="http://schemas.microsoft.com/office/drawing/2014/main" id="{1F87414D-EBAF-4480-A86C-E11E67A8720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close/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Freeform 45">
                <a:extLst>
                  <a:ext uri="{FF2B5EF4-FFF2-40B4-BE49-F238E27FC236}">
                    <a16:creationId xmlns:a16="http://schemas.microsoft.com/office/drawing/2014/main" id="{EAD1AC02-DBA4-4545-B155-E78AF5504A6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181381"/>
                <a:ext cx="132984" cy="115041"/>
              </a:xfrm>
              <a:custGeom>
                <a:avLst/>
                <a:gdLst>
                  <a:gd name="T0" fmla="*/ 240 w 252"/>
                  <a:gd name="T1" fmla="*/ 12 h 218"/>
                  <a:gd name="T2" fmla="*/ 240 w 252"/>
                  <a:gd name="T3" fmla="*/ 206 h 218"/>
                  <a:gd name="T4" fmla="*/ 12 w 252"/>
                  <a:gd name="T5" fmla="*/ 206 h 218"/>
                  <a:gd name="T6" fmla="*/ 12 w 252"/>
                  <a:gd name="T7" fmla="*/ 12 h 218"/>
                  <a:gd name="T8" fmla="*/ 240 w 252"/>
                  <a:gd name="T9" fmla="*/ 12 h 218"/>
                  <a:gd name="T10" fmla="*/ 252 w 252"/>
                  <a:gd name="T11" fmla="*/ 0 h 218"/>
                  <a:gd name="T12" fmla="*/ 0 w 252"/>
                  <a:gd name="T13" fmla="*/ 0 h 218"/>
                  <a:gd name="T14" fmla="*/ 0 w 252"/>
                  <a:gd name="T15" fmla="*/ 218 h 218"/>
                  <a:gd name="T16" fmla="*/ 252 w 252"/>
                  <a:gd name="T17" fmla="*/ 218 h 218"/>
                  <a:gd name="T18" fmla="*/ 252 w 252"/>
                  <a:gd name="T19" fmla="*/ 0 h 218"/>
                  <a:gd name="T20" fmla="*/ 252 w 252"/>
                  <a:gd name="T21" fmla="*/ 0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52" h="218">
                    <a:moveTo>
                      <a:pt x="240" y="12"/>
                    </a:moveTo>
                    <a:lnTo>
                      <a:pt x="240" y="206"/>
                    </a:lnTo>
                    <a:lnTo>
                      <a:pt x="12" y="206"/>
                    </a:lnTo>
                    <a:lnTo>
                      <a:pt x="12" y="12"/>
                    </a:lnTo>
                    <a:lnTo>
                      <a:pt x="240" y="12"/>
                    </a:lnTo>
                    <a:moveTo>
                      <a:pt x="252" y="0"/>
                    </a:moveTo>
                    <a:lnTo>
                      <a:pt x="0" y="0"/>
                    </a:lnTo>
                    <a:lnTo>
                      <a:pt x="0" y="218"/>
                    </a:lnTo>
                    <a:lnTo>
                      <a:pt x="252" y="218"/>
                    </a:lnTo>
                    <a:lnTo>
                      <a:pt x="252" y="0"/>
                    </a:lnTo>
                    <a:lnTo>
                      <a:pt x="252" y="0"/>
                    </a:lnTo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46">
                <a:extLst>
                  <a:ext uri="{FF2B5EF4-FFF2-40B4-BE49-F238E27FC236}">
                    <a16:creationId xmlns:a16="http://schemas.microsoft.com/office/drawing/2014/main" id="{D9029E94-F66B-4F2E-83EA-24A8DD6A0E7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95338" y="2934412"/>
                <a:ext cx="48022" cy="48022"/>
              </a:xfrm>
              <a:custGeom>
                <a:avLst/>
                <a:gdLst>
                  <a:gd name="T0" fmla="*/ 26 w 53"/>
                  <a:gd name="T1" fmla="*/ 6 h 53"/>
                  <a:gd name="T2" fmla="*/ 46 w 53"/>
                  <a:gd name="T3" fmla="*/ 26 h 53"/>
                  <a:gd name="T4" fmla="*/ 26 w 53"/>
                  <a:gd name="T5" fmla="*/ 46 h 53"/>
                  <a:gd name="T6" fmla="*/ 6 w 53"/>
                  <a:gd name="T7" fmla="*/ 26 h 53"/>
                  <a:gd name="T8" fmla="*/ 26 w 53"/>
                  <a:gd name="T9" fmla="*/ 6 h 53"/>
                  <a:gd name="T10" fmla="*/ 26 w 53"/>
                  <a:gd name="T11" fmla="*/ 0 h 53"/>
                  <a:gd name="T12" fmla="*/ 0 w 53"/>
                  <a:gd name="T13" fmla="*/ 26 h 53"/>
                  <a:gd name="T14" fmla="*/ 26 w 53"/>
                  <a:gd name="T15" fmla="*/ 53 h 53"/>
                  <a:gd name="T16" fmla="*/ 53 w 53"/>
                  <a:gd name="T17" fmla="*/ 26 h 53"/>
                  <a:gd name="T18" fmla="*/ 26 w 53"/>
                  <a:gd name="T19" fmla="*/ 0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3" h="53">
                    <a:moveTo>
                      <a:pt x="26" y="6"/>
                    </a:moveTo>
                    <a:cubicBezTo>
                      <a:pt x="37" y="6"/>
                      <a:pt x="46" y="15"/>
                      <a:pt x="46" y="26"/>
                    </a:cubicBezTo>
                    <a:cubicBezTo>
                      <a:pt x="46" y="37"/>
                      <a:pt x="37" y="46"/>
                      <a:pt x="26" y="46"/>
                    </a:cubicBezTo>
                    <a:cubicBezTo>
                      <a:pt x="15" y="46"/>
                      <a:pt x="6" y="37"/>
                      <a:pt x="6" y="26"/>
                    </a:cubicBezTo>
                    <a:cubicBezTo>
                      <a:pt x="6" y="15"/>
                      <a:pt x="15" y="6"/>
                      <a:pt x="26" y="6"/>
                    </a:cubicBezTo>
                    <a:moveTo>
                      <a:pt x="26" y="0"/>
                    </a:moveTo>
                    <a:cubicBezTo>
                      <a:pt x="12" y="0"/>
                      <a:pt x="0" y="12"/>
                      <a:pt x="0" y="26"/>
                    </a:cubicBezTo>
                    <a:cubicBezTo>
                      <a:pt x="0" y="41"/>
                      <a:pt x="12" y="53"/>
                      <a:pt x="26" y="53"/>
                    </a:cubicBezTo>
                    <a:cubicBezTo>
                      <a:pt x="41" y="53"/>
                      <a:pt x="53" y="41"/>
                      <a:pt x="53" y="26"/>
                    </a:cubicBezTo>
                    <a:cubicBezTo>
                      <a:pt x="53" y="12"/>
                      <a:pt x="41" y="0"/>
                      <a:pt x="2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Freeform 47">
                <a:extLst>
                  <a:ext uri="{FF2B5EF4-FFF2-40B4-BE49-F238E27FC236}">
                    <a16:creationId xmlns:a16="http://schemas.microsoft.com/office/drawing/2014/main" id="{AFA21E7A-2359-403A-AD0C-1FA157FB3900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06424" y="2970824"/>
                <a:ext cx="42217" cy="41689"/>
              </a:xfrm>
              <a:custGeom>
                <a:avLst/>
                <a:gdLst>
                  <a:gd name="T0" fmla="*/ 23 w 47"/>
                  <a:gd name="T1" fmla="*/ 6 h 46"/>
                  <a:gd name="T2" fmla="*/ 40 w 47"/>
                  <a:gd name="T3" fmla="*/ 23 h 46"/>
                  <a:gd name="T4" fmla="*/ 23 w 47"/>
                  <a:gd name="T5" fmla="*/ 40 h 46"/>
                  <a:gd name="T6" fmla="*/ 7 w 47"/>
                  <a:gd name="T7" fmla="*/ 23 h 46"/>
                  <a:gd name="T8" fmla="*/ 23 w 47"/>
                  <a:gd name="T9" fmla="*/ 6 h 46"/>
                  <a:gd name="T10" fmla="*/ 23 w 47"/>
                  <a:gd name="T11" fmla="*/ 0 h 46"/>
                  <a:gd name="T12" fmla="*/ 0 w 47"/>
                  <a:gd name="T13" fmla="*/ 23 h 46"/>
                  <a:gd name="T14" fmla="*/ 23 w 47"/>
                  <a:gd name="T15" fmla="*/ 46 h 46"/>
                  <a:gd name="T16" fmla="*/ 47 w 47"/>
                  <a:gd name="T17" fmla="*/ 23 h 46"/>
                  <a:gd name="T18" fmla="*/ 23 w 47"/>
                  <a:gd name="T19" fmla="*/ 0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7" h="46">
                    <a:moveTo>
                      <a:pt x="23" y="6"/>
                    </a:moveTo>
                    <a:cubicBezTo>
                      <a:pt x="32" y="6"/>
                      <a:pt x="40" y="14"/>
                      <a:pt x="40" y="23"/>
                    </a:cubicBezTo>
                    <a:cubicBezTo>
                      <a:pt x="40" y="32"/>
                      <a:pt x="32" y="40"/>
                      <a:pt x="23" y="40"/>
                    </a:cubicBezTo>
                    <a:cubicBezTo>
                      <a:pt x="14" y="40"/>
                      <a:pt x="7" y="32"/>
                      <a:pt x="7" y="23"/>
                    </a:cubicBezTo>
                    <a:cubicBezTo>
                      <a:pt x="7" y="14"/>
                      <a:pt x="14" y="6"/>
                      <a:pt x="23" y="6"/>
                    </a:cubicBezTo>
                    <a:moveTo>
                      <a:pt x="23" y="0"/>
                    </a:moveTo>
                    <a:cubicBezTo>
                      <a:pt x="10" y="0"/>
                      <a:pt x="0" y="10"/>
                      <a:pt x="0" y="23"/>
                    </a:cubicBezTo>
                    <a:cubicBezTo>
                      <a:pt x="0" y="36"/>
                      <a:pt x="10" y="46"/>
                      <a:pt x="23" y="46"/>
                    </a:cubicBezTo>
                    <a:cubicBezTo>
                      <a:pt x="36" y="46"/>
                      <a:pt x="47" y="36"/>
                      <a:pt x="47" y="23"/>
                    </a:cubicBezTo>
                    <a:cubicBezTo>
                      <a:pt x="47" y="10"/>
                      <a:pt x="36" y="0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Freeform 48">
                <a:extLst>
                  <a:ext uri="{FF2B5EF4-FFF2-40B4-BE49-F238E27FC236}">
                    <a16:creationId xmlns:a16="http://schemas.microsoft.com/office/drawing/2014/main" id="{1864523D-C766-4A6A-90A5-311EDB15437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37028" y="3072672"/>
                <a:ext cx="169396" cy="102376"/>
              </a:xfrm>
              <a:custGeom>
                <a:avLst/>
                <a:gdLst>
                  <a:gd name="T0" fmla="*/ 134 w 187"/>
                  <a:gd name="T1" fmla="*/ 7 h 113"/>
                  <a:gd name="T2" fmla="*/ 180 w 187"/>
                  <a:gd name="T3" fmla="*/ 53 h 113"/>
                  <a:gd name="T4" fmla="*/ 161 w 187"/>
                  <a:gd name="T5" fmla="*/ 91 h 113"/>
                  <a:gd name="T6" fmla="*/ 161 w 187"/>
                  <a:gd name="T7" fmla="*/ 91 h 113"/>
                  <a:gd name="T8" fmla="*/ 161 w 187"/>
                  <a:gd name="T9" fmla="*/ 91 h 113"/>
                  <a:gd name="T10" fmla="*/ 144 w 187"/>
                  <a:gd name="T11" fmla="*/ 107 h 113"/>
                  <a:gd name="T12" fmla="*/ 16 w 187"/>
                  <a:gd name="T13" fmla="*/ 107 h 113"/>
                  <a:gd name="T14" fmla="*/ 97 w 187"/>
                  <a:gd name="T15" fmla="*/ 25 h 113"/>
                  <a:gd name="T16" fmla="*/ 97 w 187"/>
                  <a:gd name="T17" fmla="*/ 25 h 113"/>
                  <a:gd name="T18" fmla="*/ 97 w 187"/>
                  <a:gd name="T19" fmla="*/ 25 h 113"/>
                  <a:gd name="T20" fmla="*/ 134 w 187"/>
                  <a:gd name="T21" fmla="*/ 7 h 113"/>
                  <a:gd name="T22" fmla="*/ 134 w 187"/>
                  <a:gd name="T23" fmla="*/ 0 h 113"/>
                  <a:gd name="T24" fmla="*/ 92 w 187"/>
                  <a:gd name="T25" fmla="*/ 20 h 113"/>
                  <a:gd name="T26" fmla="*/ 0 w 187"/>
                  <a:gd name="T27" fmla="*/ 113 h 113"/>
                  <a:gd name="T28" fmla="*/ 147 w 187"/>
                  <a:gd name="T29" fmla="*/ 113 h 113"/>
                  <a:gd name="T30" fmla="*/ 165 w 187"/>
                  <a:gd name="T31" fmla="*/ 96 h 113"/>
                  <a:gd name="T32" fmla="*/ 187 w 187"/>
                  <a:gd name="T33" fmla="*/ 53 h 113"/>
                  <a:gd name="T34" fmla="*/ 134 w 187"/>
                  <a:gd name="T35" fmla="*/ 0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87" h="113">
                    <a:moveTo>
                      <a:pt x="134" y="7"/>
                    </a:moveTo>
                    <a:cubicBezTo>
                      <a:pt x="159" y="7"/>
                      <a:pt x="180" y="28"/>
                      <a:pt x="180" y="53"/>
                    </a:cubicBezTo>
                    <a:cubicBezTo>
                      <a:pt x="180" y="67"/>
                      <a:pt x="174" y="80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61" y="91"/>
                      <a:pt x="161" y="91"/>
                      <a:pt x="161" y="91"/>
                    </a:cubicBezTo>
                    <a:cubicBezTo>
                      <a:pt x="144" y="107"/>
                      <a:pt x="144" y="107"/>
                      <a:pt x="144" y="107"/>
                    </a:cubicBezTo>
                    <a:cubicBezTo>
                      <a:pt x="16" y="107"/>
                      <a:pt x="16" y="107"/>
                      <a:pt x="16" y="107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97" y="25"/>
                      <a:pt x="97" y="25"/>
                      <a:pt x="97" y="25"/>
                    </a:cubicBezTo>
                    <a:cubicBezTo>
                      <a:pt x="108" y="12"/>
                      <a:pt x="120" y="7"/>
                      <a:pt x="134" y="7"/>
                    </a:cubicBezTo>
                    <a:moveTo>
                      <a:pt x="134" y="0"/>
                    </a:moveTo>
                    <a:cubicBezTo>
                      <a:pt x="117" y="0"/>
                      <a:pt x="103" y="8"/>
                      <a:pt x="92" y="20"/>
                    </a:cubicBezTo>
                    <a:cubicBezTo>
                      <a:pt x="0" y="113"/>
                      <a:pt x="0" y="113"/>
                      <a:pt x="0" y="113"/>
                    </a:cubicBezTo>
                    <a:cubicBezTo>
                      <a:pt x="147" y="113"/>
                      <a:pt x="147" y="113"/>
                      <a:pt x="147" y="113"/>
                    </a:cubicBezTo>
                    <a:cubicBezTo>
                      <a:pt x="165" y="96"/>
                      <a:pt x="165" y="96"/>
                      <a:pt x="165" y="96"/>
                    </a:cubicBezTo>
                    <a:cubicBezTo>
                      <a:pt x="178" y="85"/>
                      <a:pt x="187" y="71"/>
                      <a:pt x="187" y="53"/>
                    </a:cubicBezTo>
                    <a:cubicBezTo>
                      <a:pt x="187" y="24"/>
                      <a:pt x="163" y="0"/>
                      <a:pt x="13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Freeform 49">
                <a:extLst>
                  <a:ext uri="{FF2B5EF4-FFF2-40B4-BE49-F238E27FC236}">
                    <a16:creationId xmlns:a16="http://schemas.microsoft.com/office/drawing/2014/main" id="{FF5C3EF6-43C5-408E-8A0A-CB2318394FF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09059" y="2953410"/>
                <a:ext cx="163591" cy="157258"/>
              </a:xfrm>
              <a:custGeom>
                <a:avLst/>
                <a:gdLst>
                  <a:gd name="T0" fmla="*/ 50 w 181"/>
                  <a:gd name="T1" fmla="*/ 14 h 174"/>
                  <a:gd name="T2" fmla="*/ 162 w 181"/>
                  <a:gd name="T3" fmla="*/ 119 h 174"/>
                  <a:gd name="T4" fmla="*/ 122 w 181"/>
                  <a:gd name="T5" fmla="*/ 134 h 174"/>
                  <a:gd name="T6" fmla="*/ 93 w 181"/>
                  <a:gd name="T7" fmla="*/ 163 h 174"/>
                  <a:gd name="T8" fmla="*/ 14 w 181"/>
                  <a:gd name="T9" fmla="*/ 45 h 174"/>
                  <a:gd name="T10" fmla="*/ 50 w 181"/>
                  <a:gd name="T11" fmla="*/ 14 h 174"/>
                  <a:gd name="T12" fmla="*/ 44 w 181"/>
                  <a:gd name="T13" fmla="*/ 0 h 174"/>
                  <a:gd name="T14" fmla="*/ 45 w 181"/>
                  <a:gd name="T15" fmla="*/ 5 h 174"/>
                  <a:gd name="T16" fmla="*/ 11 w 181"/>
                  <a:gd name="T17" fmla="*/ 39 h 174"/>
                  <a:gd name="T18" fmla="*/ 0 w 181"/>
                  <a:gd name="T19" fmla="*/ 37 h 174"/>
                  <a:gd name="T20" fmla="*/ 92 w 181"/>
                  <a:gd name="T21" fmla="*/ 174 h 174"/>
                  <a:gd name="T22" fmla="*/ 126 w 181"/>
                  <a:gd name="T23" fmla="*/ 139 h 174"/>
                  <a:gd name="T24" fmla="*/ 165 w 181"/>
                  <a:gd name="T25" fmla="*/ 125 h 174"/>
                  <a:gd name="T26" fmla="*/ 181 w 181"/>
                  <a:gd name="T27" fmla="*/ 128 h 174"/>
                  <a:gd name="T28" fmla="*/ 44 w 181"/>
                  <a:gd name="T29" fmla="*/ 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81" h="174">
                    <a:moveTo>
                      <a:pt x="50" y="14"/>
                    </a:moveTo>
                    <a:cubicBezTo>
                      <a:pt x="162" y="119"/>
                      <a:pt x="162" y="119"/>
                      <a:pt x="162" y="119"/>
                    </a:cubicBezTo>
                    <a:cubicBezTo>
                      <a:pt x="147" y="119"/>
                      <a:pt x="133" y="125"/>
                      <a:pt x="122" y="134"/>
                    </a:cubicBezTo>
                    <a:cubicBezTo>
                      <a:pt x="119" y="136"/>
                      <a:pt x="103" y="153"/>
                      <a:pt x="93" y="163"/>
                    </a:cubicBezTo>
                    <a:cubicBezTo>
                      <a:pt x="14" y="45"/>
                      <a:pt x="14" y="45"/>
                      <a:pt x="14" y="45"/>
                    </a:cubicBezTo>
                    <a:cubicBezTo>
                      <a:pt x="32" y="44"/>
                      <a:pt x="46" y="31"/>
                      <a:pt x="50" y="14"/>
                    </a:cubicBezTo>
                    <a:moveTo>
                      <a:pt x="44" y="0"/>
                    </a:moveTo>
                    <a:cubicBezTo>
                      <a:pt x="44" y="1"/>
                      <a:pt x="45" y="3"/>
                      <a:pt x="45" y="5"/>
                    </a:cubicBezTo>
                    <a:cubicBezTo>
                      <a:pt x="45" y="24"/>
                      <a:pt x="30" y="39"/>
                      <a:pt x="11" y="39"/>
                    </a:cubicBezTo>
                    <a:cubicBezTo>
                      <a:pt x="7" y="39"/>
                      <a:pt x="4" y="38"/>
                      <a:pt x="0" y="37"/>
                    </a:cubicBezTo>
                    <a:cubicBezTo>
                      <a:pt x="92" y="174"/>
                      <a:pt x="92" y="174"/>
                      <a:pt x="92" y="174"/>
                    </a:cubicBezTo>
                    <a:cubicBezTo>
                      <a:pt x="92" y="174"/>
                      <a:pt x="123" y="142"/>
                      <a:pt x="126" y="139"/>
                    </a:cubicBezTo>
                    <a:cubicBezTo>
                      <a:pt x="137" y="131"/>
                      <a:pt x="150" y="125"/>
                      <a:pt x="165" y="125"/>
                    </a:cubicBezTo>
                    <a:cubicBezTo>
                      <a:pt x="170" y="125"/>
                      <a:pt x="176" y="126"/>
                      <a:pt x="181" y="128"/>
                    </a:cubicBezTo>
                    <a:cubicBezTo>
                      <a:pt x="44" y="0"/>
                      <a:pt x="44" y="0"/>
                      <a:pt x="44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Freeform 50">
                <a:extLst>
                  <a:ext uri="{FF2B5EF4-FFF2-40B4-BE49-F238E27FC236}">
                    <a16:creationId xmlns:a16="http://schemas.microsoft.com/office/drawing/2014/main" id="{BCBE0ADF-9F9D-488B-B02F-8EDCA8FA994B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41777" y="2937051"/>
                <a:ext cx="172562" cy="72297"/>
              </a:xfrm>
              <a:custGeom>
                <a:avLst/>
                <a:gdLst>
                  <a:gd name="T0" fmla="*/ 20 w 191"/>
                  <a:gd name="T1" fmla="*/ 11 h 80"/>
                  <a:gd name="T2" fmla="*/ 176 w 191"/>
                  <a:gd name="T3" fmla="*/ 38 h 80"/>
                  <a:gd name="T4" fmla="*/ 169 w 191"/>
                  <a:gd name="T5" fmla="*/ 60 h 80"/>
                  <a:gd name="T6" fmla="*/ 171 w 191"/>
                  <a:gd name="T7" fmla="*/ 72 h 80"/>
                  <a:gd name="T8" fmla="*/ 70 w 191"/>
                  <a:gd name="T9" fmla="*/ 57 h 80"/>
                  <a:gd name="T10" fmla="*/ 20 w 191"/>
                  <a:gd name="T11" fmla="*/ 11 h 80"/>
                  <a:gd name="T12" fmla="*/ 0 w 191"/>
                  <a:gd name="T13" fmla="*/ 0 h 80"/>
                  <a:gd name="T14" fmla="*/ 67 w 191"/>
                  <a:gd name="T15" fmla="*/ 64 h 80"/>
                  <a:gd name="T16" fmla="*/ 183 w 191"/>
                  <a:gd name="T17" fmla="*/ 80 h 80"/>
                  <a:gd name="T18" fmla="*/ 175 w 191"/>
                  <a:gd name="T19" fmla="*/ 60 h 80"/>
                  <a:gd name="T20" fmla="*/ 191 w 191"/>
                  <a:gd name="T21" fmla="*/ 34 h 80"/>
                  <a:gd name="T22" fmla="*/ 0 w 191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91" h="80">
                    <a:moveTo>
                      <a:pt x="20" y="11"/>
                    </a:moveTo>
                    <a:cubicBezTo>
                      <a:pt x="176" y="38"/>
                      <a:pt x="176" y="38"/>
                      <a:pt x="176" y="38"/>
                    </a:cubicBezTo>
                    <a:cubicBezTo>
                      <a:pt x="171" y="44"/>
                      <a:pt x="169" y="52"/>
                      <a:pt x="169" y="60"/>
                    </a:cubicBezTo>
                    <a:cubicBezTo>
                      <a:pt x="169" y="64"/>
                      <a:pt x="169" y="68"/>
                      <a:pt x="171" y="72"/>
                    </a:cubicBezTo>
                    <a:cubicBezTo>
                      <a:pt x="70" y="57"/>
                      <a:pt x="70" y="57"/>
                      <a:pt x="70" y="57"/>
                    </a:cubicBezTo>
                    <a:cubicBezTo>
                      <a:pt x="20" y="11"/>
                      <a:pt x="20" y="11"/>
                      <a:pt x="20" y="11"/>
                    </a:cubicBezTo>
                    <a:moveTo>
                      <a:pt x="0" y="0"/>
                    </a:moveTo>
                    <a:cubicBezTo>
                      <a:pt x="67" y="64"/>
                      <a:pt x="67" y="64"/>
                      <a:pt x="67" y="64"/>
                    </a:cubicBezTo>
                    <a:cubicBezTo>
                      <a:pt x="183" y="80"/>
                      <a:pt x="183" y="80"/>
                      <a:pt x="183" y="80"/>
                    </a:cubicBezTo>
                    <a:cubicBezTo>
                      <a:pt x="178" y="75"/>
                      <a:pt x="175" y="68"/>
                      <a:pt x="175" y="60"/>
                    </a:cubicBezTo>
                    <a:cubicBezTo>
                      <a:pt x="175" y="49"/>
                      <a:pt x="182" y="39"/>
                      <a:pt x="191" y="34"/>
                    </a:cubicBezTo>
                    <a:cubicBezTo>
                      <a:pt x="0" y="0"/>
                      <a:pt x="0" y="0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Freeform 52">
                <a:extLst>
                  <a:ext uri="{FF2B5EF4-FFF2-40B4-BE49-F238E27FC236}">
                    <a16:creationId xmlns:a16="http://schemas.microsoft.com/office/drawing/2014/main" id="{27580CF7-F87F-4DFA-BE1B-6A5DDAD6D643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97718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7" y="33"/>
                      <a:pt x="20" y="29"/>
                      <a:pt x="20" y="19"/>
                    </a:cubicBezTo>
                    <a:cubicBezTo>
                      <a:pt x="20" y="10"/>
                      <a:pt x="17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Freeform 53">
                <a:extLst>
                  <a:ext uri="{FF2B5EF4-FFF2-40B4-BE49-F238E27FC236}">
                    <a16:creationId xmlns:a16="http://schemas.microsoft.com/office/drawing/2014/main" id="{099204BF-98BC-4477-A566-AD9061815B8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26743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8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8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Freeform 54">
                <a:extLst>
                  <a:ext uri="{FF2B5EF4-FFF2-40B4-BE49-F238E27FC236}">
                    <a16:creationId xmlns:a16="http://schemas.microsoft.com/office/drawing/2014/main" id="{E04932D2-3AB4-4E68-B084-64EDCD499E1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554711" y="3158689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19 h 64"/>
                  <a:gd name="T4" fmla="*/ 0 w 36"/>
                  <a:gd name="T5" fmla="*/ 11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5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5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Freeform 55">
                <a:extLst>
                  <a:ext uri="{FF2B5EF4-FFF2-40B4-BE49-F238E27FC236}">
                    <a16:creationId xmlns:a16="http://schemas.microsoft.com/office/drawing/2014/main" id="{478F955F-6431-4420-9521-93C6EDE313D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80569" y="3158162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6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9"/>
                      <a:pt x="9" y="33"/>
                      <a:pt x="13" y="33"/>
                    </a:cubicBezTo>
                    <a:cubicBezTo>
                      <a:pt x="18" y="33"/>
                      <a:pt x="20" y="29"/>
                      <a:pt x="20" y="19"/>
                    </a:cubicBezTo>
                    <a:cubicBezTo>
                      <a:pt x="20" y="10"/>
                      <a:pt x="18" y="6"/>
                      <a:pt x="13" y="6"/>
                    </a:cubicBezTo>
                    <a:cubicBezTo>
                      <a:pt x="9" y="6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Freeform 56">
                <a:extLst>
                  <a:ext uri="{FF2B5EF4-FFF2-40B4-BE49-F238E27FC236}">
                    <a16:creationId xmlns:a16="http://schemas.microsoft.com/office/drawing/2014/main" id="{155431B6-0D40-411C-A890-E7C5029244D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9593" y="3158689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19 h 64"/>
                  <a:gd name="T4" fmla="*/ 0 w 38"/>
                  <a:gd name="T5" fmla="*/ 11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5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5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6" name="Freeform 57">
                <a:extLst>
                  <a:ext uri="{FF2B5EF4-FFF2-40B4-BE49-F238E27FC236}">
                    <a16:creationId xmlns:a16="http://schemas.microsoft.com/office/drawing/2014/main" id="{E9A61A02-DF8B-48C0-9157-47DCFFA4BD4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637035" y="3158162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6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9"/>
                      <a:pt x="8" y="33"/>
                      <a:pt x="13" y="33"/>
                    </a:cubicBezTo>
                    <a:cubicBezTo>
                      <a:pt x="17" y="33"/>
                      <a:pt x="19" y="29"/>
                      <a:pt x="19" y="19"/>
                    </a:cubicBezTo>
                    <a:cubicBezTo>
                      <a:pt x="19" y="10"/>
                      <a:pt x="17" y="6"/>
                      <a:pt x="13" y="6"/>
                    </a:cubicBezTo>
                    <a:cubicBezTo>
                      <a:pt x="8" y="6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7" name="Freeform 58">
                <a:extLst>
                  <a:ext uri="{FF2B5EF4-FFF2-40B4-BE49-F238E27FC236}">
                    <a16:creationId xmlns:a16="http://schemas.microsoft.com/office/drawing/2014/main" id="{93C81610-3834-49A1-822E-57C79FE2EF49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29643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Freeform 59">
                <a:extLst>
                  <a:ext uri="{FF2B5EF4-FFF2-40B4-BE49-F238E27FC236}">
                    <a16:creationId xmlns:a16="http://schemas.microsoft.com/office/drawing/2014/main" id="{7AC403D6-50A5-486E-9973-CF74EDC8561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5866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5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29 w 38"/>
                  <a:gd name="T9" fmla="*/ 0 h 64"/>
                  <a:gd name="T10" fmla="*/ 29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0 w 38"/>
                  <a:gd name="T17" fmla="*/ 64 h 64"/>
                  <a:gd name="T18" fmla="*/ 10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9" name="Freeform 60">
                <a:extLst>
                  <a:ext uri="{FF2B5EF4-FFF2-40B4-BE49-F238E27FC236}">
                    <a16:creationId xmlns:a16="http://schemas.microsoft.com/office/drawing/2014/main" id="{09665069-1982-435F-9D5D-27C062C55545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86636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9 w 36"/>
                  <a:gd name="T9" fmla="*/ 0 h 64"/>
                  <a:gd name="T10" fmla="*/ 29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10 w 36"/>
                  <a:gd name="T17" fmla="*/ 64 h 64"/>
                  <a:gd name="T18" fmla="*/ 10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10" y="64"/>
                    </a:lnTo>
                    <a:lnTo>
                      <a:pt x="10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Freeform 61">
                <a:extLst>
                  <a:ext uri="{FF2B5EF4-FFF2-40B4-BE49-F238E27FC236}">
                    <a16:creationId xmlns:a16="http://schemas.microsoft.com/office/drawing/2014/main" id="{DDBB9DA8-1EBE-4E89-8D42-8FFC5B0485AE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3022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Freeform 62">
                <a:extLst>
                  <a:ext uri="{FF2B5EF4-FFF2-40B4-BE49-F238E27FC236}">
                    <a16:creationId xmlns:a16="http://schemas.microsoft.com/office/drawing/2014/main" id="{398DD4E8-A101-482D-BB2C-F3F56D8384B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4099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Freeform 63">
                <a:extLst>
                  <a:ext uri="{FF2B5EF4-FFF2-40B4-BE49-F238E27FC236}">
                    <a16:creationId xmlns:a16="http://schemas.microsoft.com/office/drawing/2014/main" id="{8D1D5B5A-BE9C-4E8C-B17E-B8E3FB92DF8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78455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Freeform 64">
                <a:extLst>
                  <a:ext uri="{FF2B5EF4-FFF2-40B4-BE49-F238E27FC236}">
                    <a16:creationId xmlns:a16="http://schemas.microsoft.com/office/drawing/2014/main" id="{2CC98301-1373-42F8-9C9B-27A25288648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06951" y="3219376"/>
                <a:ext cx="18998" cy="32718"/>
              </a:xfrm>
              <a:custGeom>
                <a:avLst/>
                <a:gdLst>
                  <a:gd name="T0" fmla="*/ 18 w 36"/>
                  <a:gd name="T1" fmla="*/ 11 h 62"/>
                  <a:gd name="T2" fmla="*/ 6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8 w 36"/>
                  <a:gd name="T9" fmla="*/ 0 h 62"/>
                  <a:gd name="T10" fmla="*/ 28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9 w 36"/>
                  <a:gd name="T17" fmla="*/ 62 h 62"/>
                  <a:gd name="T18" fmla="*/ 9 w 36"/>
                  <a:gd name="T19" fmla="*/ 55 h 62"/>
                  <a:gd name="T20" fmla="*/ 18 w 36"/>
                  <a:gd name="T21" fmla="*/ 55 h 62"/>
                  <a:gd name="T22" fmla="*/ 18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8" y="11"/>
                    </a:moveTo>
                    <a:lnTo>
                      <a:pt x="6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8" y="0"/>
                    </a:lnTo>
                    <a:lnTo>
                      <a:pt x="28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9" y="62"/>
                    </a:lnTo>
                    <a:lnTo>
                      <a:pt x="9" y="55"/>
                    </a:lnTo>
                    <a:lnTo>
                      <a:pt x="18" y="55"/>
                    </a:lnTo>
                    <a:lnTo>
                      <a:pt x="18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Freeform 65">
                <a:extLst>
                  <a:ext uri="{FF2B5EF4-FFF2-40B4-BE49-F238E27FC236}">
                    <a16:creationId xmlns:a16="http://schemas.microsoft.com/office/drawing/2014/main" id="{4BAAB51C-3A40-45F8-96FC-F06CABE4828C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433337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Freeform 66">
                <a:extLst>
                  <a:ext uri="{FF2B5EF4-FFF2-40B4-BE49-F238E27FC236}">
                    <a16:creationId xmlns:a16="http://schemas.microsoft.com/office/drawing/2014/main" id="{A59780AF-3BDB-461B-B9CA-640995DB3B7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62362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0 w 38"/>
                  <a:gd name="T17" fmla="*/ 62 h 62"/>
                  <a:gd name="T18" fmla="*/ 10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Freeform 67">
                <a:extLst>
                  <a:ext uri="{FF2B5EF4-FFF2-40B4-BE49-F238E27FC236}">
                    <a16:creationId xmlns:a16="http://schemas.microsoft.com/office/drawing/2014/main" id="{E2B95D44-927D-4AA5-BA64-FB43275C4EF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490330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9 w 36"/>
                  <a:gd name="T9" fmla="*/ 0 h 62"/>
                  <a:gd name="T10" fmla="*/ 29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10 w 36"/>
                  <a:gd name="T17" fmla="*/ 62 h 62"/>
                  <a:gd name="T18" fmla="*/ 10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10" y="62"/>
                    </a:lnTo>
                    <a:lnTo>
                      <a:pt x="10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Freeform 68">
                <a:extLst>
                  <a:ext uri="{FF2B5EF4-FFF2-40B4-BE49-F238E27FC236}">
                    <a16:creationId xmlns:a16="http://schemas.microsoft.com/office/drawing/2014/main" id="{D5812A21-2DF6-432A-8D82-D5F78B9ADF22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517244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1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1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8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Freeform 69">
                <a:extLst>
                  <a:ext uri="{FF2B5EF4-FFF2-40B4-BE49-F238E27FC236}">
                    <a16:creationId xmlns:a16="http://schemas.microsoft.com/office/drawing/2014/main" id="{BA021DC0-67DB-4078-AA52-EF57F49A0A61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164731" y="3098003"/>
                <a:ext cx="23747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19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8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7" y="32"/>
                      <a:pt x="19" y="28"/>
                      <a:pt x="19" y="19"/>
                    </a:cubicBezTo>
                    <a:cubicBezTo>
                      <a:pt x="19" y="9"/>
                      <a:pt x="17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Freeform 70">
                <a:extLst>
                  <a:ext uri="{FF2B5EF4-FFF2-40B4-BE49-F238E27FC236}">
                    <a16:creationId xmlns:a16="http://schemas.microsoft.com/office/drawing/2014/main" id="{F3ACEE85-6EDB-40A3-9A8F-D5D88D4BB3F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193755" y="3098003"/>
                <a:ext cx="18998" cy="33774"/>
              </a:xfrm>
              <a:custGeom>
                <a:avLst/>
                <a:gdLst>
                  <a:gd name="T0" fmla="*/ 17 w 36"/>
                  <a:gd name="T1" fmla="*/ 12 h 64"/>
                  <a:gd name="T2" fmla="*/ 5 w 36"/>
                  <a:gd name="T3" fmla="*/ 21 h 64"/>
                  <a:gd name="T4" fmla="*/ 0 w 36"/>
                  <a:gd name="T5" fmla="*/ 12 h 64"/>
                  <a:gd name="T6" fmla="*/ 19 w 36"/>
                  <a:gd name="T7" fmla="*/ 0 h 64"/>
                  <a:gd name="T8" fmla="*/ 27 w 36"/>
                  <a:gd name="T9" fmla="*/ 0 h 64"/>
                  <a:gd name="T10" fmla="*/ 27 w 36"/>
                  <a:gd name="T11" fmla="*/ 55 h 64"/>
                  <a:gd name="T12" fmla="*/ 36 w 36"/>
                  <a:gd name="T13" fmla="*/ 57 h 64"/>
                  <a:gd name="T14" fmla="*/ 36 w 36"/>
                  <a:gd name="T15" fmla="*/ 64 h 64"/>
                  <a:gd name="T16" fmla="*/ 8 w 36"/>
                  <a:gd name="T17" fmla="*/ 64 h 64"/>
                  <a:gd name="T18" fmla="*/ 8 w 36"/>
                  <a:gd name="T19" fmla="*/ 57 h 64"/>
                  <a:gd name="T20" fmla="*/ 17 w 36"/>
                  <a:gd name="T21" fmla="*/ 55 h 64"/>
                  <a:gd name="T22" fmla="*/ 17 w 36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4">
                    <a:moveTo>
                      <a:pt x="17" y="12"/>
                    </a:moveTo>
                    <a:lnTo>
                      <a:pt x="5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7"/>
                    </a:lnTo>
                    <a:lnTo>
                      <a:pt x="36" y="64"/>
                    </a:lnTo>
                    <a:lnTo>
                      <a:pt x="8" y="64"/>
                    </a:lnTo>
                    <a:lnTo>
                      <a:pt x="8" y="57"/>
                    </a:lnTo>
                    <a:lnTo>
                      <a:pt x="17" y="55"/>
                    </a:lnTo>
                    <a:lnTo>
                      <a:pt x="17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Freeform 71">
                <a:extLst>
                  <a:ext uri="{FF2B5EF4-FFF2-40B4-BE49-F238E27FC236}">
                    <a16:creationId xmlns:a16="http://schemas.microsoft.com/office/drawing/2014/main" id="{E27A1814-ADE3-4ADF-8E88-78D2DE6891E4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20141" y="3098003"/>
                <a:ext cx="23219" cy="34829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8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2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5" y="38"/>
                      <a:pt x="0" y="32"/>
                      <a:pt x="0" y="18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2"/>
                      <a:pt x="13" y="32"/>
                    </a:cubicBezTo>
                    <a:cubicBezTo>
                      <a:pt x="18" y="32"/>
                      <a:pt x="20" y="28"/>
                      <a:pt x="20" y="19"/>
                    </a:cubicBezTo>
                    <a:cubicBezTo>
                      <a:pt x="20" y="9"/>
                      <a:pt x="18" y="5"/>
                      <a:pt x="13" y="5"/>
                    </a:cubicBezTo>
                    <a:cubicBezTo>
                      <a:pt x="9" y="5"/>
                      <a:pt x="7" y="9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Freeform 72">
                <a:extLst>
                  <a:ext uri="{FF2B5EF4-FFF2-40B4-BE49-F238E27FC236}">
                    <a16:creationId xmlns:a16="http://schemas.microsoft.com/office/drawing/2014/main" id="{0E0B52B7-C013-41B6-AFE3-C1744FAAA3C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48637" y="3098003"/>
                <a:ext cx="20053" cy="33774"/>
              </a:xfrm>
              <a:custGeom>
                <a:avLst/>
                <a:gdLst>
                  <a:gd name="T0" fmla="*/ 19 w 38"/>
                  <a:gd name="T1" fmla="*/ 12 h 64"/>
                  <a:gd name="T2" fmla="*/ 6 w 38"/>
                  <a:gd name="T3" fmla="*/ 21 h 64"/>
                  <a:gd name="T4" fmla="*/ 0 w 38"/>
                  <a:gd name="T5" fmla="*/ 12 h 64"/>
                  <a:gd name="T6" fmla="*/ 19 w 38"/>
                  <a:gd name="T7" fmla="*/ 0 h 64"/>
                  <a:gd name="T8" fmla="*/ 30 w 38"/>
                  <a:gd name="T9" fmla="*/ 0 h 64"/>
                  <a:gd name="T10" fmla="*/ 30 w 38"/>
                  <a:gd name="T11" fmla="*/ 55 h 64"/>
                  <a:gd name="T12" fmla="*/ 38 w 38"/>
                  <a:gd name="T13" fmla="*/ 57 h 64"/>
                  <a:gd name="T14" fmla="*/ 38 w 38"/>
                  <a:gd name="T15" fmla="*/ 64 h 64"/>
                  <a:gd name="T16" fmla="*/ 11 w 38"/>
                  <a:gd name="T17" fmla="*/ 64 h 64"/>
                  <a:gd name="T18" fmla="*/ 11 w 38"/>
                  <a:gd name="T19" fmla="*/ 57 h 64"/>
                  <a:gd name="T20" fmla="*/ 19 w 38"/>
                  <a:gd name="T21" fmla="*/ 55 h 64"/>
                  <a:gd name="T22" fmla="*/ 19 w 38"/>
                  <a:gd name="T23" fmla="*/ 12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4">
                    <a:moveTo>
                      <a:pt x="19" y="12"/>
                    </a:moveTo>
                    <a:lnTo>
                      <a:pt x="6" y="21"/>
                    </a:lnTo>
                    <a:lnTo>
                      <a:pt x="0" y="12"/>
                    </a:lnTo>
                    <a:lnTo>
                      <a:pt x="19" y="0"/>
                    </a:lnTo>
                    <a:lnTo>
                      <a:pt x="30" y="0"/>
                    </a:lnTo>
                    <a:lnTo>
                      <a:pt x="30" y="55"/>
                    </a:lnTo>
                    <a:lnTo>
                      <a:pt x="38" y="57"/>
                    </a:lnTo>
                    <a:lnTo>
                      <a:pt x="38" y="64"/>
                    </a:lnTo>
                    <a:lnTo>
                      <a:pt x="11" y="64"/>
                    </a:lnTo>
                    <a:lnTo>
                      <a:pt x="11" y="57"/>
                    </a:lnTo>
                    <a:lnTo>
                      <a:pt x="19" y="55"/>
                    </a:lnTo>
                    <a:lnTo>
                      <a:pt x="19" y="12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Freeform 73">
                <a:extLst>
                  <a:ext uri="{FF2B5EF4-FFF2-40B4-BE49-F238E27FC236}">
                    <a16:creationId xmlns:a16="http://schemas.microsoft.com/office/drawing/2014/main" id="{965D7220-1323-44B9-A81D-39E358733B95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250748" y="3218849"/>
                <a:ext cx="23219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6 w 26"/>
                  <a:gd name="T11" fmla="*/ 19 h 38"/>
                  <a:gd name="T12" fmla="*/ 13 w 26"/>
                  <a:gd name="T13" fmla="*/ 33 h 38"/>
                  <a:gd name="T14" fmla="*/ 19 w 26"/>
                  <a:gd name="T15" fmla="*/ 19 h 38"/>
                  <a:gd name="T16" fmla="*/ 13 w 26"/>
                  <a:gd name="T17" fmla="*/ 5 h 38"/>
                  <a:gd name="T18" fmla="*/ 6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4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6" y="19"/>
                    </a:moveTo>
                    <a:cubicBezTo>
                      <a:pt x="6" y="28"/>
                      <a:pt x="8" y="33"/>
                      <a:pt x="13" y="33"/>
                    </a:cubicBezTo>
                    <a:cubicBezTo>
                      <a:pt x="17" y="33"/>
                      <a:pt x="19" y="28"/>
                      <a:pt x="19" y="19"/>
                    </a:cubicBezTo>
                    <a:cubicBezTo>
                      <a:pt x="19" y="10"/>
                      <a:pt x="17" y="5"/>
                      <a:pt x="13" y="5"/>
                    </a:cubicBezTo>
                    <a:cubicBezTo>
                      <a:pt x="9" y="5"/>
                      <a:pt x="6" y="10"/>
                      <a:pt x="6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Freeform 74">
                <a:extLst>
                  <a:ext uri="{FF2B5EF4-FFF2-40B4-BE49-F238E27FC236}">
                    <a16:creationId xmlns:a16="http://schemas.microsoft.com/office/drawing/2014/main" id="{C217551D-E91E-4C45-94BD-848C042CBE5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279773" y="3219376"/>
                <a:ext cx="18998" cy="32718"/>
              </a:xfrm>
              <a:custGeom>
                <a:avLst/>
                <a:gdLst>
                  <a:gd name="T0" fmla="*/ 17 w 36"/>
                  <a:gd name="T1" fmla="*/ 11 h 62"/>
                  <a:gd name="T2" fmla="*/ 5 w 36"/>
                  <a:gd name="T3" fmla="*/ 19 h 62"/>
                  <a:gd name="T4" fmla="*/ 0 w 36"/>
                  <a:gd name="T5" fmla="*/ 11 h 62"/>
                  <a:gd name="T6" fmla="*/ 19 w 36"/>
                  <a:gd name="T7" fmla="*/ 0 h 62"/>
                  <a:gd name="T8" fmla="*/ 27 w 36"/>
                  <a:gd name="T9" fmla="*/ 0 h 62"/>
                  <a:gd name="T10" fmla="*/ 27 w 36"/>
                  <a:gd name="T11" fmla="*/ 55 h 62"/>
                  <a:gd name="T12" fmla="*/ 36 w 36"/>
                  <a:gd name="T13" fmla="*/ 55 h 62"/>
                  <a:gd name="T14" fmla="*/ 36 w 36"/>
                  <a:gd name="T15" fmla="*/ 62 h 62"/>
                  <a:gd name="T16" fmla="*/ 8 w 36"/>
                  <a:gd name="T17" fmla="*/ 62 h 62"/>
                  <a:gd name="T18" fmla="*/ 8 w 36"/>
                  <a:gd name="T19" fmla="*/ 55 h 62"/>
                  <a:gd name="T20" fmla="*/ 17 w 36"/>
                  <a:gd name="T21" fmla="*/ 55 h 62"/>
                  <a:gd name="T22" fmla="*/ 17 w 36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6" h="62">
                    <a:moveTo>
                      <a:pt x="17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7" y="0"/>
                    </a:lnTo>
                    <a:lnTo>
                      <a:pt x="27" y="55"/>
                    </a:lnTo>
                    <a:lnTo>
                      <a:pt x="36" y="55"/>
                    </a:lnTo>
                    <a:lnTo>
                      <a:pt x="36" y="62"/>
                    </a:lnTo>
                    <a:lnTo>
                      <a:pt x="8" y="62"/>
                    </a:lnTo>
                    <a:lnTo>
                      <a:pt x="8" y="55"/>
                    </a:lnTo>
                    <a:lnTo>
                      <a:pt x="17" y="55"/>
                    </a:lnTo>
                    <a:lnTo>
                      <a:pt x="17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Freeform 75">
                <a:extLst>
                  <a:ext uri="{FF2B5EF4-FFF2-40B4-BE49-F238E27FC236}">
                    <a16:creationId xmlns:a16="http://schemas.microsoft.com/office/drawing/2014/main" id="{26350B76-F4D4-4B9D-9AB0-EA9FC250764F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4305630" y="3218849"/>
                <a:ext cx="23747" cy="34301"/>
              </a:xfrm>
              <a:custGeom>
                <a:avLst/>
                <a:gdLst>
                  <a:gd name="T0" fmla="*/ 26 w 26"/>
                  <a:gd name="T1" fmla="*/ 19 h 38"/>
                  <a:gd name="T2" fmla="*/ 13 w 26"/>
                  <a:gd name="T3" fmla="*/ 38 h 38"/>
                  <a:gd name="T4" fmla="*/ 0 w 26"/>
                  <a:gd name="T5" fmla="*/ 19 h 38"/>
                  <a:gd name="T6" fmla="*/ 13 w 26"/>
                  <a:gd name="T7" fmla="*/ 0 h 38"/>
                  <a:gd name="T8" fmla="*/ 26 w 26"/>
                  <a:gd name="T9" fmla="*/ 19 h 38"/>
                  <a:gd name="T10" fmla="*/ 7 w 26"/>
                  <a:gd name="T11" fmla="*/ 19 h 38"/>
                  <a:gd name="T12" fmla="*/ 13 w 26"/>
                  <a:gd name="T13" fmla="*/ 33 h 38"/>
                  <a:gd name="T14" fmla="*/ 20 w 26"/>
                  <a:gd name="T15" fmla="*/ 19 h 38"/>
                  <a:gd name="T16" fmla="*/ 13 w 26"/>
                  <a:gd name="T17" fmla="*/ 5 h 38"/>
                  <a:gd name="T18" fmla="*/ 7 w 26"/>
                  <a:gd name="T19" fmla="*/ 19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6" h="38">
                    <a:moveTo>
                      <a:pt x="26" y="19"/>
                    </a:moveTo>
                    <a:cubicBezTo>
                      <a:pt x="26" y="32"/>
                      <a:pt x="22" y="38"/>
                      <a:pt x="13" y="38"/>
                    </a:cubicBezTo>
                    <a:cubicBezTo>
                      <a:pt x="4" y="38"/>
                      <a:pt x="0" y="32"/>
                      <a:pt x="0" y="19"/>
                    </a:cubicBezTo>
                    <a:cubicBezTo>
                      <a:pt x="0" y="6"/>
                      <a:pt x="5" y="0"/>
                      <a:pt x="13" y="0"/>
                    </a:cubicBezTo>
                    <a:cubicBezTo>
                      <a:pt x="22" y="0"/>
                      <a:pt x="26" y="6"/>
                      <a:pt x="26" y="19"/>
                    </a:cubicBezTo>
                    <a:close/>
                    <a:moveTo>
                      <a:pt x="7" y="19"/>
                    </a:moveTo>
                    <a:cubicBezTo>
                      <a:pt x="7" y="28"/>
                      <a:pt x="9" y="33"/>
                      <a:pt x="13" y="33"/>
                    </a:cubicBezTo>
                    <a:cubicBezTo>
                      <a:pt x="18" y="33"/>
                      <a:pt x="20" y="28"/>
                      <a:pt x="20" y="19"/>
                    </a:cubicBezTo>
                    <a:cubicBezTo>
                      <a:pt x="20" y="10"/>
                      <a:pt x="18" y="5"/>
                      <a:pt x="13" y="5"/>
                    </a:cubicBezTo>
                    <a:cubicBezTo>
                      <a:pt x="9" y="5"/>
                      <a:pt x="7" y="10"/>
                      <a:pt x="7" y="19"/>
                    </a:cubicBez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Freeform 76">
                <a:extLst>
                  <a:ext uri="{FF2B5EF4-FFF2-40B4-BE49-F238E27FC236}">
                    <a16:creationId xmlns:a16="http://schemas.microsoft.com/office/drawing/2014/main" id="{785EEBE5-3C2B-4B14-85E7-8153BEC0808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334655" y="3219376"/>
                <a:ext cx="20053" cy="32718"/>
              </a:xfrm>
              <a:custGeom>
                <a:avLst/>
                <a:gdLst>
                  <a:gd name="T0" fmla="*/ 19 w 38"/>
                  <a:gd name="T1" fmla="*/ 11 h 62"/>
                  <a:gd name="T2" fmla="*/ 5 w 38"/>
                  <a:gd name="T3" fmla="*/ 19 h 62"/>
                  <a:gd name="T4" fmla="*/ 0 w 38"/>
                  <a:gd name="T5" fmla="*/ 11 h 62"/>
                  <a:gd name="T6" fmla="*/ 19 w 38"/>
                  <a:gd name="T7" fmla="*/ 0 h 62"/>
                  <a:gd name="T8" fmla="*/ 29 w 38"/>
                  <a:gd name="T9" fmla="*/ 0 h 62"/>
                  <a:gd name="T10" fmla="*/ 29 w 38"/>
                  <a:gd name="T11" fmla="*/ 55 h 62"/>
                  <a:gd name="T12" fmla="*/ 38 w 38"/>
                  <a:gd name="T13" fmla="*/ 55 h 62"/>
                  <a:gd name="T14" fmla="*/ 38 w 38"/>
                  <a:gd name="T15" fmla="*/ 62 h 62"/>
                  <a:gd name="T16" fmla="*/ 11 w 38"/>
                  <a:gd name="T17" fmla="*/ 62 h 62"/>
                  <a:gd name="T18" fmla="*/ 11 w 38"/>
                  <a:gd name="T19" fmla="*/ 55 h 62"/>
                  <a:gd name="T20" fmla="*/ 19 w 38"/>
                  <a:gd name="T21" fmla="*/ 55 h 62"/>
                  <a:gd name="T22" fmla="*/ 19 w 38"/>
                  <a:gd name="T23" fmla="*/ 11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8" h="62">
                    <a:moveTo>
                      <a:pt x="19" y="11"/>
                    </a:moveTo>
                    <a:lnTo>
                      <a:pt x="5" y="19"/>
                    </a:lnTo>
                    <a:lnTo>
                      <a:pt x="0" y="11"/>
                    </a:lnTo>
                    <a:lnTo>
                      <a:pt x="19" y="0"/>
                    </a:lnTo>
                    <a:lnTo>
                      <a:pt x="29" y="0"/>
                    </a:lnTo>
                    <a:lnTo>
                      <a:pt x="29" y="55"/>
                    </a:lnTo>
                    <a:lnTo>
                      <a:pt x="38" y="55"/>
                    </a:lnTo>
                    <a:lnTo>
                      <a:pt x="38" y="62"/>
                    </a:lnTo>
                    <a:lnTo>
                      <a:pt x="11" y="62"/>
                    </a:lnTo>
                    <a:lnTo>
                      <a:pt x="11" y="55"/>
                    </a:lnTo>
                    <a:lnTo>
                      <a:pt x="19" y="55"/>
                    </a:lnTo>
                    <a:lnTo>
                      <a:pt x="19" y="11"/>
                    </a:lnTo>
                    <a:close/>
                  </a:path>
                </a:pathLst>
              </a:custGeom>
              <a:grpFill/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9" name="Freihandform 24">
              <a:extLst>
                <a:ext uri="{FF2B5EF4-FFF2-40B4-BE49-F238E27FC236}">
                  <a16:creationId xmlns:a16="http://schemas.microsoft.com/office/drawing/2014/main" id="{EF70099F-11B8-4275-B221-D0760F180397}"/>
                </a:ext>
              </a:extLst>
            </p:cNvPr>
            <p:cNvSpPr/>
            <p:nvPr/>
          </p:nvSpPr>
          <p:spPr bwMode="gray">
            <a:xfrm rot="20239983">
              <a:off x="7147931" y="4916104"/>
              <a:ext cx="900249" cy="900249"/>
            </a:xfrm>
            <a:custGeom>
              <a:avLst/>
              <a:gdLst>
                <a:gd name="connsiteX0" fmla="*/ 0 w 847769"/>
                <a:gd name="connsiteY0" fmla="*/ 423885 h 847769"/>
                <a:gd name="connsiteX1" fmla="*/ 423885 w 847769"/>
                <a:gd name="connsiteY1" fmla="*/ 0 h 847769"/>
                <a:gd name="connsiteX2" fmla="*/ 847770 w 847769"/>
                <a:gd name="connsiteY2" fmla="*/ 423885 h 847769"/>
                <a:gd name="connsiteX3" fmla="*/ 423885 w 847769"/>
                <a:gd name="connsiteY3" fmla="*/ 847770 h 847769"/>
                <a:gd name="connsiteX4" fmla="*/ 0 w 847769"/>
                <a:gd name="connsiteY4" fmla="*/ 423885 h 847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47769" h="847769">
                  <a:moveTo>
                    <a:pt x="0" y="423885"/>
                  </a:moveTo>
                  <a:cubicBezTo>
                    <a:pt x="0" y="189780"/>
                    <a:pt x="189780" y="0"/>
                    <a:pt x="423885" y="0"/>
                  </a:cubicBezTo>
                  <a:cubicBezTo>
                    <a:pt x="657990" y="0"/>
                    <a:pt x="847770" y="189780"/>
                    <a:pt x="847770" y="423885"/>
                  </a:cubicBezTo>
                  <a:cubicBezTo>
                    <a:pt x="847770" y="657990"/>
                    <a:pt x="657990" y="847770"/>
                    <a:pt x="423885" y="847770"/>
                  </a:cubicBezTo>
                  <a:cubicBezTo>
                    <a:pt x="189780" y="847770"/>
                    <a:pt x="0" y="657990"/>
                    <a:pt x="0" y="423885"/>
                  </a:cubicBez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72413" tIns="172413" rIns="172413" bIns="172413" numCol="1" spcCol="1270" anchor="ctr" anchorCtr="0">
              <a:noAutofit/>
            </a:bodyPr>
            <a:lstStyle/>
            <a:p>
              <a:pPr lvl="0" algn="ctr" defTabSz="1689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3800" kern="1200" dirty="0"/>
            </a:p>
          </p:txBody>
        </p:sp>
        <p:sp>
          <p:nvSpPr>
            <p:cNvPr id="80" name="Freeform 121">
              <a:extLst>
                <a:ext uri="{FF2B5EF4-FFF2-40B4-BE49-F238E27FC236}">
                  <a16:creationId xmlns:a16="http://schemas.microsoft.com/office/drawing/2014/main" id="{B3763211-00DA-440D-BEAD-48CE4738DBE9}"/>
                </a:ext>
              </a:extLst>
            </p:cNvPr>
            <p:cNvSpPr>
              <a:spLocks noChangeAspect="1" noEditPoints="1"/>
            </p:cNvSpPr>
            <p:nvPr/>
          </p:nvSpPr>
          <p:spPr bwMode="gray">
            <a:xfrm>
              <a:off x="7327002" y="5133275"/>
              <a:ext cx="523086" cy="533080"/>
            </a:xfrm>
            <a:custGeom>
              <a:avLst/>
              <a:gdLst>
                <a:gd name="T0" fmla="*/ 681 w 785"/>
                <a:gd name="T1" fmla="*/ 119 h 800"/>
                <a:gd name="T2" fmla="*/ 636 w 785"/>
                <a:gd name="T3" fmla="*/ 160 h 800"/>
                <a:gd name="T4" fmla="*/ 677 w 785"/>
                <a:gd name="T5" fmla="*/ 229 h 800"/>
                <a:gd name="T6" fmla="*/ 659 w 785"/>
                <a:gd name="T7" fmla="*/ 229 h 800"/>
                <a:gd name="T8" fmla="*/ 677 w 785"/>
                <a:gd name="T9" fmla="*/ 229 h 800"/>
                <a:gd name="T10" fmla="*/ 710 w 785"/>
                <a:gd name="T11" fmla="*/ 54 h 800"/>
                <a:gd name="T12" fmla="*/ 601 w 785"/>
                <a:gd name="T13" fmla="*/ 54 h 800"/>
                <a:gd name="T14" fmla="*/ 785 w 785"/>
                <a:gd name="T15" fmla="*/ 352 h 800"/>
                <a:gd name="T16" fmla="*/ 753 w 785"/>
                <a:gd name="T17" fmla="*/ 355 h 800"/>
                <a:gd name="T18" fmla="*/ 720 w 785"/>
                <a:gd name="T19" fmla="*/ 202 h 800"/>
                <a:gd name="T20" fmla="*/ 704 w 785"/>
                <a:gd name="T21" fmla="*/ 649 h 800"/>
                <a:gd name="T22" fmla="*/ 659 w 785"/>
                <a:gd name="T23" fmla="*/ 371 h 800"/>
                <a:gd name="T24" fmla="*/ 645 w 785"/>
                <a:gd name="T25" fmla="*/ 437 h 800"/>
                <a:gd name="T26" fmla="*/ 398 w 785"/>
                <a:gd name="T27" fmla="*/ 703 h 800"/>
                <a:gd name="T28" fmla="*/ 451 w 785"/>
                <a:gd name="T29" fmla="*/ 768 h 800"/>
                <a:gd name="T30" fmla="*/ 193 w 785"/>
                <a:gd name="T31" fmla="*/ 800 h 800"/>
                <a:gd name="T32" fmla="*/ 247 w 785"/>
                <a:gd name="T33" fmla="*/ 768 h 800"/>
                <a:gd name="T34" fmla="*/ 0 w 785"/>
                <a:gd name="T35" fmla="*/ 703 h 800"/>
                <a:gd name="T36" fmla="*/ 533 w 785"/>
                <a:gd name="T37" fmla="*/ 306 h 800"/>
                <a:gd name="T38" fmla="*/ 558 w 785"/>
                <a:gd name="T39" fmla="*/ 146 h 800"/>
                <a:gd name="T40" fmla="*/ 596 w 785"/>
                <a:gd name="T41" fmla="*/ 119 h 800"/>
                <a:gd name="T42" fmla="*/ 651 w 785"/>
                <a:gd name="T43" fmla="*/ 222 h 800"/>
                <a:gd name="T44" fmla="*/ 668 w 785"/>
                <a:gd name="T45" fmla="*/ 248 h 800"/>
                <a:gd name="T46" fmla="*/ 668 w 785"/>
                <a:gd name="T47" fmla="*/ 210 h 800"/>
                <a:gd name="T48" fmla="*/ 642 w 785"/>
                <a:gd name="T49" fmla="*/ 169 h 800"/>
                <a:gd name="T50" fmla="*/ 696 w 785"/>
                <a:gd name="T51" fmla="*/ 119 h 800"/>
                <a:gd name="T52" fmla="*/ 752 w 785"/>
                <a:gd name="T53" fmla="*/ 146 h 800"/>
                <a:gd name="T54" fmla="*/ 785 w 785"/>
                <a:gd name="T55" fmla="*/ 349 h 800"/>
                <a:gd name="T56" fmla="*/ 568 w 785"/>
                <a:gd name="T57" fmla="*/ 306 h 800"/>
                <a:gd name="T58" fmla="*/ 590 w 785"/>
                <a:gd name="T59" fmla="*/ 202 h 800"/>
                <a:gd name="T60" fmla="*/ 398 w 785"/>
                <a:gd name="T61" fmla="*/ 671 h 800"/>
                <a:gd name="T62" fmla="*/ 32 w 785"/>
                <a:gd name="T63" fmla="*/ 338 h 800"/>
                <a:gd name="T64" fmla="*/ 398 w 785"/>
                <a:gd name="T65" fmla="*/ 671 h 800"/>
                <a:gd name="T66" fmla="*/ 406 w 785"/>
                <a:gd name="T67" fmla="*/ 338 h 800"/>
                <a:gd name="T68" fmla="*/ 471 w 785"/>
                <a:gd name="T69" fmla="*/ 419 h 800"/>
                <a:gd name="T70" fmla="*/ 490 w 785"/>
                <a:gd name="T71" fmla="*/ 419 h 800"/>
                <a:gd name="T72" fmla="*/ 573 w 785"/>
                <a:gd name="T73" fmla="*/ 502 h 800"/>
                <a:gd name="T74" fmla="*/ 406 w 785"/>
                <a:gd name="T75" fmla="*/ 520 h 800"/>
                <a:gd name="T76" fmla="*/ 613 w 785"/>
                <a:gd name="T77" fmla="*/ 671 h 800"/>
                <a:gd name="T78" fmla="*/ 279 w 785"/>
                <a:gd name="T79" fmla="*/ 372 h 800"/>
                <a:gd name="T80" fmla="*/ 69 w 785"/>
                <a:gd name="T81" fmla="*/ 386 h 800"/>
                <a:gd name="T82" fmla="*/ 279 w 785"/>
                <a:gd name="T83" fmla="*/ 372 h 800"/>
                <a:gd name="T84" fmla="*/ 69 w 785"/>
                <a:gd name="T85" fmla="*/ 414 h 800"/>
                <a:gd name="T86" fmla="*/ 279 w 785"/>
                <a:gd name="T87" fmla="*/ 428 h 800"/>
                <a:gd name="T88" fmla="*/ 279 w 785"/>
                <a:gd name="T89" fmla="*/ 457 h 800"/>
                <a:gd name="T90" fmla="*/ 69 w 785"/>
                <a:gd name="T91" fmla="*/ 471 h 800"/>
                <a:gd name="T92" fmla="*/ 279 w 785"/>
                <a:gd name="T93" fmla="*/ 457 h 800"/>
                <a:gd name="T94" fmla="*/ 69 w 785"/>
                <a:gd name="T95" fmla="*/ 499 h 800"/>
                <a:gd name="T96" fmla="*/ 279 w 785"/>
                <a:gd name="T97" fmla="*/ 513 h 800"/>
                <a:gd name="T98" fmla="*/ 279 w 785"/>
                <a:gd name="T99" fmla="*/ 597 h 800"/>
                <a:gd name="T100" fmla="*/ 69 w 785"/>
                <a:gd name="T101" fmla="*/ 611 h 800"/>
                <a:gd name="T102" fmla="*/ 279 w 785"/>
                <a:gd name="T103" fmla="*/ 597 h 800"/>
                <a:gd name="T104" fmla="*/ 323 w 785"/>
                <a:gd name="T105" fmla="*/ 440 h 800"/>
                <a:gd name="T106" fmla="*/ 350 w 785"/>
                <a:gd name="T107" fmla="*/ 487 h 800"/>
                <a:gd name="T108" fmla="*/ 323 w 785"/>
                <a:gd name="T109" fmla="*/ 535 h 8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785" h="800">
                  <a:moveTo>
                    <a:pt x="607" y="119"/>
                  </a:moveTo>
                  <a:cubicBezTo>
                    <a:pt x="681" y="119"/>
                    <a:pt x="681" y="119"/>
                    <a:pt x="681" y="119"/>
                  </a:cubicBezTo>
                  <a:cubicBezTo>
                    <a:pt x="678" y="121"/>
                    <a:pt x="676" y="123"/>
                    <a:pt x="674" y="125"/>
                  </a:cubicBezTo>
                  <a:cubicBezTo>
                    <a:pt x="658" y="137"/>
                    <a:pt x="643" y="149"/>
                    <a:pt x="636" y="160"/>
                  </a:cubicBezTo>
                  <a:cubicBezTo>
                    <a:pt x="628" y="153"/>
                    <a:pt x="613" y="137"/>
                    <a:pt x="607" y="119"/>
                  </a:cubicBezTo>
                  <a:close/>
                  <a:moveTo>
                    <a:pt x="677" y="229"/>
                  </a:moveTo>
                  <a:cubicBezTo>
                    <a:pt x="677" y="224"/>
                    <a:pt x="673" y="220"/>
                    <a:pt x="668" y="220"/>
                  </a:cubicBezTo>
                  <a:cubicBezTo>
                    <a:pt x="663" y="220"/>
                    <a:pt x="659" y="224"/>
                    <a:pt x="659" y="229"/>
                  </a:cubicBezTo>
                  <a:cubicBezTo>
                    <a:pt x="659" y="234"/>
                    <a:pt x="663" y="239"/>
                    <a:pt x="668" y="239"/>
                  </a:cubicBezTo>
                  <a:cubicBezTo>
                    <a:pt x="673" y="239"/>
                    <a:pt x="677" y="234"/>
                    <a:pt x="677" y="229"/>
                  </a:cubicBezTo>
                  <a:close/>
                  <a:moveTo>
                    <a:pt x="655" y="108"/>
                  </a:moveTo>
                  <a:cubicBezTo>
                    <a:pt x="685" y="108"/>
                    <a:pt x="710" y="84"/>
                    <a:pt x="710" y="54"/>
                  </a:cubicBezTo>
                  <a:cubicBezTo>
                    <a:pt x="710" y="24"/>
                    <a:pt x="685" y="0"/>
                    <a:pt x="655" y="0"/>
                  </a:cubicBezTo>
                  <a:cubicBezTo>
                    <a:pt x="626" y="0"/>
                    <a:pt x="601" y="24"/>
                    <a:pt x="601" y="54"/>
                  </a:cubicBezTo>
                  <a:cubicBezTo>
                    <a:pt x="601" y="84"/>
                    <a:pt x="626" y="108"/>
                    <a:pt x="655" y="108"/>
                  </a:cubicBezTo>
                  <a:close/>
                  <a:moveTo>
                    <a:pt x="785" y="352"/>
                  </a:moveTo>
                  <a:cubicBezTo>
                    <a:pt x="785" y="361"/>
                    <a:pt x="778" y="368"/>
                    <a:pt x="769" y="368"/>
                  </a:cubicBezTo>
                  <a:cubicBezTo>
                    <a:pt x="761" y="368"/>
                    <a:pt x="755" y="363"/>
                    <a:pt x="753" y="355"/>
                  </a:cubicBezTo>
                  <a:cubicBezTo>
                    <a:pt x="753" y="355"/>
                    <a:pt x="753" y="355"/>
                    <a:pt x="753" y="355"/>
                  </a:cubicBezTo>
                  <a:cubicBezTo>
                    <a:pt x="720" y="202"/>
                    <a:pt x="720" y="202"/>
                    <a:pt x="720" y="202"/>
                  </a:cubicBezTo>
                  <a:cubicBezTo>
                    <a:pt x="720" y="633"/>
                    <a:pt x="720" y="633"/>
                    <a:pt x="720" y="633"/>
                  </a:cubicBezTo>
                  <a:cubicBezTo>
                    <a:pt x="720" y="642"/>
                    <a:pt x="713" y="649"/>
                    <a:pt x="704" y="649"/>
                  </a:cubicBezTo>
                  <a:cubicBezTo>
                    <a:pt x="696" y="649"/>
                    <a:pt x="689" y="643"/>
                    <a:pt x="688" y="635"/>
                  </a:cubicBezTo>
                  <a:cubicBezTo>
                    <a:pt x="659" y="371"/>
                    <a:pt x="659" y="371"/>
                    <a:pt x="659" y="371"/>
                  </a:cubicBezTo>
                  <a:cubicBezTo>
                    <a:pt x="658" y="367"/>
                    <a:pt x="653" y="367"/>
                    <a:pt x="652" y="371"/>
                  </a:cubicBezTo>
                  <a:cubicBezTo>
                    <a:pt x="645" y="437"/>
                    <a:pt x="645" y="437"/>
                    <a:pt x="645" y="437"/>
                  </a:cubicBezTo>
                  <a:cubicBezTo>
                    <a:pt x="645" y="703"/>
                    <a:pt x="645" y="703"/>
                    <a:pt x="645" y="703"/>
                  </a:cubicBezTo>
                  <a:cubicBezTo>
                    <a:pt x="398" y="703"/>
                    <a:pt x="398" y="703"/>
                    <a:pt x="398" y="703"/>
                  </a:cubicBezTo>
                  <a:cubicBezTo>
                    <a:pt x="398" y="768"/>
                    <a:pt x="398" y="768"/>
                    <a:pt x="398" y="768"/>
                  </a:cubicBezTo>
                  <a:cubicBezTo>
                    <a:pt x="451" y="768"/>
                    <a:pt x="451" y="768"/>
                    <a:pt x="451" y="768"/>
                  </a:cubicBezTo>
                  <a:cubicBezTo>
                    <a:pt x="451" y="800"/>
                    <a:pt x="451" y="800"/>
                    <a:pt x="451" y="800"/>
                  </a:cubicBezTo>
                  <a:cubicBezTo>
                    <a:pt x="193" y="800"/>
                    <a:pt x="193" y="800"/>
                    <a:pt x="193" y="800"/>
                  </a:cubicBezTo>
                  <a:cubicBezTo>
                    <a:pt x="193" y="768"/>
                    <a:pt x="193" y="768"/>
                    <a:pt x="193" y="768"/>
                  </a:cubicBezTo>
                  <a:cubicBezTo>
                    <a:pt x="247" y="768"/>
                    <a:pt x="247" y="768"/>
                    <a:pt x="247" y="768"/>
                  </a:cubicBezTo>
                  <a:cubicBezTo>
                    <a:pt x="247" y="703"/>
                    <a:pt x="247" y="703"/>
                    <a:pt x="247" y="703"/>
                  </a:cubicBezTo>
                  <a:cubicBezTo>
                    <a:pt x="0" y="703"/>
                    <a:pt x="0" y="703"/>
                    <a:pt x="0" y="703"/>
                  </a:cubicBezTo>
                  <a:cubicBezTo>
                    <a:pt x="0" y="306"/>
                    <a:pt x="0" y="306"/>
                    <a:pt x="0" y="306"/>
                  </a:cubicBezTo>
                  <a:cubicBezTo>
                    <a:pt x="533" y="306"/>
                    <a:pt x="533" y="306"/>
                    <a:pt x="533" y="30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58" y="146"/>
                    <a:pt x="558" y="146"/>
                    <a:pt x="558" y="146"/>
                  </a:cubicBezTo>
                  <a:cubicBezTo>
                    <a:pt x="561" y="131"/>
                    <a:pt x="574" y="119"/>
                    <a:pt x="590" y="119"/>
                  </a:cubicBezTo>
                  <a:cubicBezTo>
                    <a:pt x="596" y="119"/>
                    <a:pt x="596" y="119"/>
                    <a:pt x="596" y="119"/>
                  </a:cubicBezTo>
                  <a:cubicBezTo>
                    <a:pt x="604" y="143"/>
                    <a:pt x="624" y="162"/>
                    <a:pt x="631" y="169"/>
                  </a:cubicBezTo>
                  <a:cubicBezTo>
                    <a:pt x="623" y="194"/>
                    <a:pt x="637" y="212"/>
                    <a:pt x="651" y="222"/>
                  </a:cubicBezTo>
                  <a:cubicBezTo>
                    <a:pt x="650" y="224"/>
                    <a:pt x="649" y="227"/>
                    <a:pt x="649" y="229"/>
                  </a:cubicBezTo>
                  <a:cubicBezTo>
                    <a:pt x="649" y="240"/>
                    <a:pt x="657" y="248"/>
                    <a:pt x="668" y="248"/>
                  </a:cubicBezTo>
                  <a:cubicBezTo>
                    <a:pt x="678" y="248"/>
                    <a:pt x="687" y="240"/>
                    <a:pt x="687" y="229"/>
                  </a:cubicBezTo>
                  <a:cubicBezTo>
                    <a:pt x="687" y="219"/>
                    <a:pt x="678" y="210"/>
                    <a:pt x="668" y="210"/>
                  </a:cubicBezTo>
                  <a:cubicBezTo>
                    <a:pt x="664" y="210"/>
                    <a:pt x="660" y="212"/>
                    <a:pt x="657" y="214"/>
                  </a:cubicBezTo>
                  <a:cubicBezTo>
                    <a:pt x="647" y="208"/>
                    <a:pt x="632" y="193"/>
                    <a:pt x="642" y="169"/>
                  </a:cubicBezTo>
                  <a:cubicBezTo>
                    <a:pt x="645" y="160"/>
                    <a:pt x="664" y="145"/>
                    <a:pt x="680" y="133"/>
                  </a:cubicBezTo>
                  <a:cubicBezTo>
                    <a:pt x="687" y="127"/>
                    <a:pt x="692" y="123"/>
                    <a:pt x="696" y="119"/>
                  </a:cubicBezTo>
                  <a:cubicBezTo>
                    <a:pt x="720" y="119"/>
                    <a:pt x="720" y="119"/>
                    <a:pt x="720" y="119"/>
                  </a:cubicBezTo>
                  <a:cubicBezTo>
                    <a:pt x="736" y="119"/>
                    <a:pt x="750" y="131"/>
                    <a:pt x="752" y="146"/>
                  </a:cubicBezTo>
                  <a:cubicBezTo>
                    <a:pt x="752" y="146"/>
                    <a:pt x="752" y="146"/>
                    <a:pt x="752" y="146"/>
                  </a:cubicBezTo>
                  <a:cubicBezTo>
                    <a:pt x="785" y="349"/>
                    <a:pt x="785" y="349"/>
                    <a:pt x="785" y="349"/>
                  </a:cubicBezTo>
                  <a:cubicBezTo>
                    <a:pt x="785" y="350"/>
                    <a:pt x="785" y="351"/>
                    <a:pt x="785" y="352"/>
                  </a:cubicBezTo>
                  <a:close/>
                  <a:moveTo>
                    <a:pt x="568" y="306"/>
                  </a:moveTo>
                  <a:cubicBezTo>
                    <a:pt x="590" y="306"/>
                    <a:pt x="590" y="306"/>
                    <a:pt x="590" y="306"/>
                  </a:cubicBezTo>
                  <a:cubicBezTo>
                    <a:pt x="590" y="202"/>
                    <a:pt x="590" y="202"/>
                    <a:pt x="590" y="202"/>
                  </a:cubicBezTo>
                  <a:lnTo>
                    <a:pt x="568" y="306"/>
                  </a:lnTo>
                  <a:close/>
                  <a:moveTo>
                    <a:pt x="398" y="671"/>
                  </a:moveTo>
                  <a:cubicBezTo>
                    <a:pt x="398" y="338"/>
                    <a:pt x="398" y="338"/>
                    <a:pt x="398" y="338"/>
                  </a:cubicBezTo>
                  <a:cubicBezTo>
                    <a:pt x="32" y="338"/>
                    <a:pt x="32" y="338"/>
                    <a:pt x="32" y="338"/>
                  </a:cubicBezTo>
                  <a:cubicBezTo>
                    <a:pt x="32" y="671"/>
                    <a:pt x="32" y="671"/>
                    <a:pt x="32" y="671"/>
                  </a:cubicBezTo>
                  <a:lnTo>
                    <a:pt x="398" y="671"/>
                  </a:lnTo>
                  <a:close/>
                  <a:moveTo>
                    <a:pt x="613" y="338"/>
                  </a:moveTo>
                  <a:cubicBezTo>
                    <a:pt x="406" y="338"/>
                    <a:pt x="406" y="338"/>
                    <a:pt x="406" y="338"/>
                  </a:cubicBezTo>
                  <a:cubicBezTo>
                    <a:pt x="406" y="407"/>
                    <a:pt x="406" y="407"/>
                    <a:pt x="406" y="407"/>
                  </a:cubicBezTo>
                  <a:cubicBezTo>
                    <a:pt x="428" y="398"/>
                    <a:pt x="453" y="402"/>
                    <a:pt x="471" y="419"/>
                  </a:cubicBezTo>
                  <a:cubicBezTo>
                    <a:pt x="475" y="423"/>
                    <a:pt x="478" y="428"/>
                    <a:pt x="480" y="432"/>
                  </a:cubicBezTo>
                  <a:cubicBezTo>
                    <a:pt x="483" y="428"/>
                    <a:pt x="486" y="423"/>
                    <a:pt x="490" y="419"/>
                  </a:cubicBezTo>
                  <a:cubicBezTo>
                    <a:pt x="513" y="396"/>
                    <a:pt x="550" y="396"/>
                    <a:pt x="573" y="419"/>
                  </a:cubicBezTo>
                  <a:cubicBezTo>
                    <a:pt x="596" y="442"/>
                    <a:pt x="596" y="479"/>
                    <a:pt x="573" y="502"/>
                  </a:cubicBezTo>
                  <a:cubicBezTo>
                    <a:pt x="482" y="594"/>
                    <a:pt x="482" y="594"/>
                    <a:pt x="482" y="594"/>
                  </a:cubicBezTo>
                  <a:cubicBezTo>
                    <a:pt x="406" y="520"/>
                    <a:pt x="406" y="520"/>
                    <a:pt x="406" y="520"/>
                  </a:cubicBezTo>
                  <a:cubicBezTo>
                    <a:pt x="406" y="671"/>
                    <a:pt x="406" y="671"/>
                    <a:pt x="406" y="671"/>
                  </a:cubicBezTo>
                  <a:cubicBezTo>
                    <a:pt x="613" y="671"/>
                    <a:pt x="613" y="671"/>
                    <a:pt x="613" y="671"/>
                  </a:cubicBezTo>
                  <a:lnTo>
                    <a:pt x="613" y="338"/>
                  </a:lnTo>
                  <a:close/>
                  <a:moveTo>
                    <a:pt x="279" y="372"/>
                  </a:moveTo>
                  <a:cubicBezTo>
                    <a:pt x="69" y="372"/>
                    <a:pt x="69" y="372"/>
                    <a:pt x="69" y="372"/>
                  </a:cubicBezTo>
                  <a:cubicBezTo>
                    <a:pt x="69" y="386"/>
                    <a:pt x="69" y="386"/>
                    <a:pt x="69" y="386"/>
                  </a:cubicBezTo>
                  <a:cubicBezTo>
                    <a:pt x="279" y="386"/>
                    <a:pt x="279" y="386"/>
                    <a:pt x="279" y="386"/>
                  </a:cubicBezTo>
                  <a:lnTo>
                    <a:pt x="279" y="372"/>
                  </a:lnTo>
                  <a:close/>
                  <a:moveTo>
                    <a:pt x="279" y="414"/>
                  </a:moveTo>
                  <a:cubicBezTo>
                    <a:pt x="69" y="414"/>
                    <a:pt x="69" y="414"/>
                    <a:pt x="69" y="414"/>
                  </a:cubicBezTo>
                  <a:cubicBezTo>
                    <a:pt x="69" y="428"/>
                    <a:pt x="69" y="428"/>
                    <a:pt x="69" y="428"/>
                  </a:cubicBezTo>
                  <a:cubicBezTo>
                    <a:pt x="279" y="428"/>
                    <a:pt x="279" y="428"/>
                    <a:pt x="279" y="428"/>
                  </a:cubicBezTo>
                  <a:lnTo>
                    <a:pt x="279" y="414"/>
                  </a:lnTo>
                  <a:close/>
                  <a:moveTo>
                    <a:pt x="279" y="457"/>
                  </a:moveTo>
                  <a:cubicBezTo>
                    <a:pt x="69" y="457"/>
                    <a:pt x="69" y="457"/>
                    <a:pt x="69" y="457"/>
                  </a:cubicBezTo>
                  <a:cubicBezTo>
                    <a:pt x="69" y="471"/>
                    <a:pt x="69" y="471"/>
                    <a:pt x="69" y="471"/>
                  </a:cubicBezTo>
                  <a:cubicBezTo>
                    <a:pt x="279" y="471"/>
                    <a:pt x="279" y="471"/>
                    <a:pt x="279" y="471"/>
                  </a:cubicBezTo>
                  <a:lnTo>
                    <a:pt x="279" y="457"/>
                  </a:lnTo>
                  <a:close/>
                  <a:moveTo>
                    <a:pt x="279" y="499"/>
                  </a:moveTo>
                  <a:cubicBezTo>
                    <a:pt x="69" y="499"/>
                    <a:pt x="69" y="499"/>
                    <a:pt x="69" y="499"/>
                  </a:cubicBezTo>
                  <a:cubicBezTo>
                    <a:pt x="69" y="513"/>
                    <a:pt x="69" y="513"/>
                    <a:pt x="69" y="513"/>
                  </a:cubicBezTo>
                  <a:cubicBezTo>
                    <a:pt x="279" y="513"/>
                    <a:pt x="279" y="513"/>
                    <a:pt x="279" y="513"/>
                  </a:cubicBezTo>
                  <a:lnTo>
                    <a:pt x="279" y="499"/>
                  </a:lnTo>
                  <a:close/>
                  <a:moveTo>
                    <a:pt x="279" y="597"/>
                  </a:moveTo>
                  <a:cubicBezTo>
                    <a:pt x="69" y="597"/>
                    <a:pt x="69" y="597"/>
                    <a:pt x="69" y="597"/>
                  </a:cubicBezTo>
                  <a:cubicBezTo>
                    <a:pt x="69" y="611"/>
                    <a:pt x="69" y="611"/>
                    <a:pt x="69" y="611"/>
                  </a:cubicBezTo>
                  <a:cubicBezTo>
                    <a:pt x="279" y="611"/>
                    <a:pt x="279" y="611"/>
                    <a:pt x="279" y="611"/>
                  </a:cubicBezTo>
                  <a:lnTo>
                    <a:pt x="279" y="597"/>
                  </a:lnTo>
                  <a:close/>
                  <a:moveTo>
                    <a:pt x="370" y="487"/>
                  </a:moveTo>
                  <a:cubicBezTo>
                    <a:pt x="323" y="440"/>
                    <a:pt x="323" y="440"/>
                    <a:pt x="323" y="440"/>
                  </a:cubicBezTo>
                  <a:cubicBezTo>
                    <a:pt x="313" y="450"/>
                    <a:pt x="313" y="450"/>
                    <a:pt x="313" y="450"/>
                  </a:cubicBezTo>
                  <a:cubicBezTo>
                    <a:pt x="350" y="487"/>
                    <a:pt x="350" y="487"/>
                    <a:pt x="350" y="487"/>
                  </a:cubicBezTo>
                  <a:cubicBezTo>
                    <a:pt x="313" y="525"/>
                    <a:pt x="313" y="525"/>
                    <a:pt x="313" y="525"/>
                  </a:cubicBezTo>
                  <a:cubicBezTo>
                    <a:pt x="323" y="535"/>
                    <a:pt x="323" y="535"/>
                    <a:pt x="323" y="535"/>
                  </a:cubicBezTo>
                  <a:lnTo>
                    <a:pt x="370" y="487"/>
                  </a:lnTo>
                  <a:close/>
                </a:path>
              </a:pathLst>
            </a:custGeom>
            <a:solidFill>
              <a:srgbClr val="505A6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6" name="Rechteck 125">
            <a:extLst>
              <a:ext uri="{FF2B5EF4-FFF2-40B4-BE49-F238E27FC236}">
                <a16:creationId xmlns:a16="http://schemas.microsoft.com/office/drawing/2014/main" id="{4B2FAAAF-7762-4092-8344-17E4690494BD}"/>
              </a:ext>
            </a:extLst>
          </p:cNvPr>
          <p:cNvSpPr/>
          <p:nvPr/>
        </p:nvSpPr>
        <p:spPr>
          <a:xfrm>
            <a:off x="3663886" y="6295915"/>
            <a:ext cx="50497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>
                <a:solidFill>
                  <a:srgbClr val="00B050"/>
                </a:solidFill>
              </a:rPr>
              <a:t>… for the holistic functional integration!</a:t>
            </a:r>
            <a:endParaRPr lang="de-DE" sz="2000" b="1" dirty="0">
              <a:solidFill>
                <a:srgbClr val="00B050"/>
              </a:solidFill>
            </a:endParaRPr>
          </a:p>
        </p:txBody>
      </p:sp>
      <p:cxnSp>
        <p:nvCxnSpPr>
          <p:cNvPr id="128" name="Gerader Verbinder 127">
            <a:extLst>
              <a:ext uri="{FF2B5EF4-FFF2-40B4-BE49-F238E27FC236}">
                <a16:creationId xmlns:a16="http://schemas.microsoft.com/office/drawing/2014/main" id="{458A0140-E451-47A0-99A4-D570A412129E}"/>
              </a:ext>
            </a:extLst>
          </p:cNvPr>
          <p:cNvCxnSpPr>
            <a:cxnSpLocks/>
          </p:cNvCxnSpPr>
          <p:nvPr/>
        </p:nvCxnSpPr>
        <p:spPr bwMode="auto">
          <a:xfrm>
            <a:off x="5029199" y="2417960"/>
            <a:ext cx="134838" cy="1339655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9" name="Gerader Verbinder 128">
            <a:extLst>
              <a:ext uri="{FF2B5EF4-FFF2-40B4-BE49-F238E27FC236}">
                <a16:creationId xmlns:a16="http://schemas.microsoft.com/office/drawing/2014/main" id="{DCEA22AE-7C88-42E0-914C-28795836C2AF}"/>
              </a:ext>
            </a:extLst>
          </p:cNvPr>
          <p:cNvCxnSpPr>
            <a:cxnSpLocks/>
          </p:cNvCxnSpPr>
          <p:nvPr/>
        </p:nvCxnSpPr>
        <p:spPr bwMode="auto">
          <a:xfrm>
            <a:off x="4117516" y="3197178"/>
            <a:ext cx="911683" cy="789902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0" name="Gerader Verbinder 129">
            <a:extLst>
              <a:ext uri="{FF2B5EF4-FFF2-40B4-BE49-F238E27FC236}">
                <a16:creationId xmlns:a16="http://schemas.microsoft.com/office/drawing/2014/main" id="{DB2CEA20-2887-481E-9EEB-75CF327509B2}"/>
              </a:ext>
            </a:extLst>
          </p:cNvPr>
          <p:cNvCxnSpPr>
            <a:cxnSpLocks/>
          </p:cNvCxnSpPr>
          <p:nvPr/>
        </p:nvCxnSpPr>
        <p:spPr bwMode="auto">
          <a:xfrm flipV="1">
            <a:off x="4722182" y="4267638"/>
            <a:ext cx="441855" cy="765887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1" name="Gerader Verbinder 130">
            <a:extLst>
              <a:ext uri="{FF2B5EF4-FFF2-40B4-BE49-F238E27FC236}">
                <a16:creationId xmlns:a16="http://schemas.microsoft.com/office/drawing/2014/main" id="{F26949E1-4C8F-4032-BFD3-B0100C7A3006}"/>
              </a:ext>
            </a:extLst>
          </p:cNvPr>
          <p:cNvCxnSpPr>
            <a:cxnSpLocks/>
            <a:stCxn id="45" idx="2"/>
          </p:cNvCxnSpPr>
          <p:nvPr/>
        </p:nvCxnSpPr>
        <p:spPr bwMode="auto">
          <a:xfrm flipV="1">
            <a:off x="4087190" y="4019111"/>
            <a:ext cx="924274" cy="252124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5" name="Gerader Verbinder 134">
            <a:extLst>
              <a:ext uri="{FF2B5EF4-FFF2-40B4-BE49-F238E27FC236}">
                <a16:creationId xmlns:a16="http://schemas.microsoft.com/office/drawing/2014/main" id="{552AD00D-4CD3-4EAA-BA50-265244BCEC2F}"/>
              </a:ext>
            </a:extLst>
          </p:cNvPr>
          <p:cNvCxnSpPr>
            <a:cxnSpLocks/>
          </p:cNvCxnSpPr>
          <p:nvPr/>
        </p:nvCxnSpPr>
        <p:spPr bwMode="auto">
          <a:xfrm flipV="1">
            <a:off x="7195460" y="2557444"/>
            <a:ext cx="226838" cy="1190173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7" name="Gerader Verbinder 136">
            <a:extLst>
              <a:ext uri="{FF2B5EF4-FFF2-40B4-BE49-F238E27FC236}">
                <a16:creationId xmlns:a16="http://schemas.microsoft.com/office/drawing/2014/main" id="{B23AA254-CFA9-42F3-982F-EC09E65CBFF6}"/>
              </a:ext>
            </a:extLst>
          </p:cNvPr>
          <p:cNvCxnSpPr>
            <a:cxnSpLocks/>
          </p:cNvCxnSpPr>
          <p:nvPr/>
        </p:nvCxnSpPr>
        <p:spPr bwMode="auto">
          <a:xfrm flipV="1">
            <a:off x="7336465" y="3393796"/>
            <a:ext cx="818101" cy="529618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0" name="Gerader Verbinder 139">
            <a:extLst>
              <a:ext uri="{FF2B5EF4-FFF2-40B4-BE49-F238E27FC236}">
                <a16:creationId xmlns:a16="http://schemas.microsoft.com/office/drawing/2014/main" id="{2297133E-9CA9-41CE-919E-E31DF3281A7D}"/>
              </a:ext>
            </a:extLst>
          </p:cNvPr>
          <p:cNvCxnSpPr>
            <a:cxnSpLocks/>
          </p:cNvCxnSpPr>
          <p:nvPr/>
        </p:nvCxnSpPr>
        <p:spPr bwMode="auto">
          <a:xfrm>
            <a:off x="7336465" y="4038654"/>
            <a:ext cx="686945" cy="347939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3" name="Gerader Verbinder 142">
            <a:extLst>
              <a:ext uri="{FF2B5EF4-FFF2-40B4-BE49-F238E27FC236}">
                <a16:creationId xmlns:a16="http://schemas.microsoft.com/office/drawing/2014/main" id="{5B9EAD17-8BE6-49D3-A6E9-D44CE7A4FA98}"/>
              </a:ext>
            </a:extLst>
          </p:cNvPr>
          <p:cNvCxnSpPr>
            <a:cxnSpLocks/>
          </p:cNvCxnSpPr>
          <p:nvPr/>
        </p:nvCxnSpPr>
        <p:spPr bwMode="auto">
          <a:xfrm>
            <a:off x="7174653" y="4244463"/>
            <a:ext cx="201940" cy="762629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5" name="Gerader Verbinder 144">
            <a:extLst>
              <a:ext uri="{FF2B5EF4-FFF2-40B4-BE49-F238E27FC236}">
                <a16:creationId xmlns:a16="http://schemas.microsoft.com/office/drawing/2014/main" id="{895599E4-F283-4606-8E74-0F30C20DF650}"/>
              </a:ext>
            </a:extLst>
          </p:cNvPr>
          <p:cNvCxnSpPr>
            <a:cxnSpLocks/>
          </p:cNvCxnSpPr>
          <p:nvPr/>
        </p:nvCxnSpPr>
        <p:spPr bwMode="auto">
          <a:xfrm>
            <a:off x="637426" y="1059289"/>
            <a:ext cx="5535636" cy="0"/>
          </a:xfrm>
          <a:prstGeom prst="line">
            <a:avLst/>
          </a:prstGeom>
          <a:solidFill>
            <a:schemeClr val="tx2"/>
          </a:solidFill>
          <a:ln w="28575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686420506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26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-X: Product </a:t>
            </a:r>
            <a:r>
              <a:rPr lang="en-US" dirty="0">
                <a:sym typeface="Wingdings" pitchFamily="2" charset="2"/>
              </a:rPr>
              <a:t></a:t>
            </a:r>
            <a:r>
              <a:rPr lang="en-US" dirty="0"/>
              <a:t> System </a:t>
            </a:r>
            <a:r>
              <a:rPr lang="en-US" dirty="0">
                <a:sym typeface="Wingdings" pitchFamily="2" charset="2"/>
              </a:rPr>
              <a:t></a:t>
            </a:r>
            <a:r>
              <a:rPr lang="en-US" dirty="0"/>
              <a:t> Plant</a:t>
            </a:r>
            <a:br>
              <a:rPr lang="en-US" dirty="0"/>
            </a:br>
            <a:r>
              <a:rPr lang="en-US" dirty="0">
                <a:solidFill>
                  <a:srgbClr val="C00000"/>
                </a:solidFill>
              </a:rPr>
              <a:t>… it is all about Engineering …</a:t>
            </a:r>
          </a:p>
        </p:txBody>
      </p:sp>
      <p:pic>
        <p:nvPicPr>
          <p:cNvPr id="51204" name="Picture 4" descr="Das Bild zeigt eine SGT6-8000H-Gasturbine von Siemens.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9086" y="3938620"/>
            <a:ext cx="3397013" cy="2259015"/>
          </a:xfrm>
          <a:prstGeom prst="rect">
            <a:avLst/>
          </a:prstGeom>
          <a:noFill/>
        </p:spPr>
      </p:pic>
      <p:pic>
        <p:nvPicPr>
          <p:cNvPr id="51206" name="Picture 6" descr="Bildergebnis für siemens kraftwerk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7779000" y="1792387"/>
            <a:ext cx="3810000" cy="2752725"/>
          </a:xfrm>
          <a:prstGeom prst="rect">
            <a:avLst/>
          </a:prstGeom>
          <a:noFill/>
        </p:spPr>
      </p:pic>
      <p:pic>
        <p:nvPicPr>
          <p:cNvPr id="51208" name="Picture 8" descr="Bildergebnis für siemens kraftwerk leitwart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93880" y="3165537"/>
            <a:ext cx="3389914" cy="1905405"/>
          </a:xfrm>
          <a:prstGeom prst="rect">
            <a:avLst/>
          </a:prstGeom>
          <a:noFill/>
        </p:spPr>
      </p:pic>
      <p:sp>
        <p:nvSpPr>
          <p:cNvPr id="8" name="Rechteck 7"/>
          <p:cNvSpPr/>
          <p:nvPr/>
        </p:nvSpPr>
        <p:spPr>
          <a:xfrm>
            <a:off x="476346" y="3538555"/>
            <a:ext cx="125226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5"/>
                </a:solidFill>
                <a:ea typeface="+mj-ea"/>
                <a:cs typeface="Arial" pitchFamily="34" charset="0"/>
              </a:rPr>
              <a:t>Product</a:t>
            </a:r>
            <a:endParaRPr lang="en-US" sz="2200" dirty="0">
              <a:solidFill>
                <a:schemeClr val="accent5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101414" y="2743196"/>
            <a:ext cx="118814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5"/>
                </a:solidFill>
                <a:ea typeface="+mj-ea"/>
                <a:cs typeface="Arial" pitchFamily="34" charset="0"/>
              </a:rPr>
              <a:t>System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7686534" y="1397591"/>
            <a:ext cx="875561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5"/>
                </a:solidFill>
                <a:ea typeface="+mj-ea"/>
                <a:cs typeface="Arial" pitchFamily="34" charset="0"/>
              </a:rPr>
              <a:t>Plant</a:t>
            </a:r>
            <a:endParaRPr lang="en-US" dirty="0">
              <a:solidFill>
                <a:schemeClr val="accent5"/>
              </a:solidFill>
            </a:endParaRPr>
          </a:p>
        </p:txBody>
      </p:sp>
      <p:sp>
        <p:nvSpPr>
          <p:cNvPr id="11" name="Rechteck 10"/>
          <p:cNvSpPr/>
          <p:nvPr/>
        </p:nvSpPr>
        <p:spPr>
          <a:xfrm rot="21004054">
            <a:off x="4235786" y="5216615"/>
            <a:ext cx="7108036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6"/>
                </a:solidFill>
                <a:ea typeface="+mj-ea"/>
                <a:cs typeface="Arial" pitchFamily="34" charset="0"/>
              </a:rPr>
              <a:t>Many Standards available from ISO, IEC and Others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1959908" y="3528999"/>
            <a:ext cx="216277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6"/>
                </a:solidFill>
                <a:ea typeface="+mj-ea"/>
                <a:cs typeface="Arial" pitchFamily="34" charset="0"/>
              </a:rPr>
              <a:t>e.g. ISO/TC192</a:t>
            </a:r>
            <a:endParaRPr lang="en-US" sz="2200" dirty="0">
              <a:solidFill>
                <a:schemeClr val="accent6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5576007" y="2724017"/>
            <a:ext cx="216277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6"/>
                </a:solidFill>
                <a:ea typeface="+mj-ea"/>
                <a:cs typeface="Arial" pitchFamily="34" charset="0"/>
              </a:rPr>
              <a:t>e.g. ISO/TC184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9553824" y="1382766"/>
            <a:ext cx="2162772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200" b="1" kern="0" dirty="0">
                <a:solidFill>
                  <a:schemeClr val="accent6"/>
                </a:solidFill>
                <a:ea typeface="+mj-ea"/>
                <a:cs typeface="Arial" pitchFamily="34" charset="0"/>
              </a:rPr>
              <a:t>e.g. ISO/TC242</a:t>
            </a: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5" name="Textfeld 14">
            <a:extLst>
              <a:ext uri="{FF2B5EF4-FFF2-40B4-BE49-F238E27FC236}">
                <a16:creationId xmlns:a16="http://schemas.microsoft.com/office/drawing/2014/main" id="{51048B10-1539-4695-AD4E-B29A7462F03D}"/>
              </a:ext>
            </a:extLst>
          </p:cNvPr>
          <p:cNvSpPr txBox="1"/>
          <p:nvPr/>
        </p:nvSpPr>
        <p:spPr>
          <a:xfrm>
            <a:off x="10615977" y="6136079"/>
            <a:ext cx="97302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All Pictures: Siemens</a:t>
            </a: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1" grpId="0"/>
      <p:bldP spid="12" grpId="0"/>
      <p:bldP spid="13" grpId="0"/>
      <p:bldP spid="14" grpId="0"/>
      <p:bldP spid="1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mart-X: Engineering remains the core value …</a:t>
            </a:r>
            <a:br>
              <a:rPr lang="en-US" dirty="0"/>
            </a:br>
            <a:r>
              <a:rPr lang="en-US" dirty="0">
                <a:solidFill>
                  <a:schemeClr val="accent6"/>
                </a:solidFill>
              </a:rPr>
              <a:t>What standards do we need to cater for 2030 needs?</a:t>
            </a:r>
          </a:p>
        </p:txBody>
      </p:sp>
      <p:sp>
        <p:nvSpPr>
          <p:cNvPr id="6" name="Rechteck 5"/>
          <p:cNvSpPr/>
          <p:nvPr/>
        </p:nvSpPr>
        <p:spPr bwMode="auto">
          <a:xfrm>
            <a:off x="627063" y="1557337"/>
            <a:ext cx="3600450" cy="464343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7" name="Rechteck 6"/>
          <p:cNvSpPr/>
          <p:nvPr/>
        </p:nvSpPr>
        <p:spPr bwMode="auto">
          <a:xfrm>
            <a:off x="4342060" y="1557337"/>
            <a:ext cx="3600450" cy="464343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8" name="Rechteck 7"/>
          <p:cNvSpPr/>
          <p:nvPr/>
        </p:nvSpPr>
        <p:spPr bwMode="auto">
          <a:xfrm>
            <a:off x="8031563" y="1560875"/>
            <a:ext cx="3600450" cy="4643437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de-DE" err="1">
              <a:solidFill>
                <a:schemeClr val="tx1"/>
              </a:solidFill>
            </a:endParaRPr>
          </a:p>
        </p:txBody>
      </p:sp>
      <p:sp>
        <p:nvSpPr>
          <p:cNvPr id="10" name="Textfeld 9"/>
          <p:cNvSpPr txBox="1"/>
          <p:nvPr/>
        </p:nvSpPr>
        <p:spPr>
          <a:xfrm flipH="1">
            <a:off x="1860699" y="1557337"/>
            <a:ext cx="12546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3600" b="1">
                <a:solidFill>
                  <a:schemeClr val="accent3"/>
                </a:solidFill>
              </a:rPr>
              <a:t>1970</a:t>
            </a:r>
          </a:p>
        </p:txBody>
      </p:sp>
      <p:sp>
        <p:nvSpPr>
          <p:cNvPr id="11" name="Textfeld 10"/>
          <p:cNvSpPr txBox="1"/>
          <p:nvPr/>
        </p:nvSpPr>
        <p:spPr>
          <a:xfrm flipH="1">
            <a:off x="5553742" y="1557337"/>
            <a:ext cx="12546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3600" b="1">
                <a:solidFill>
                  <a:schemeClr val="accent5"/>
                </a:solidFill>
              </a:rPr>
              <a:t>2000</a:t>
            </a:r>
          </a:p>
        </p:txBody>
      </p:sp>
      <p:sp>
        <p:nvSpPr>
          <p:cNvPr id="12" name="Textfeld 11"/>
          <p:cNvSpPr txBox="1"/>
          <p:nvPr/>
        </p:nvSpPr>
        <p:spPr>
          <a:xfrm flipH="1">
            <a:off x="9321212" y="1560875"/>
            <a:ext cx="125464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3600" b="1">
                <a:solidFill>
                  <a:schemeClr val="accent6"/>
                </a:solidFill>
              </a:rPr>
              <a:t>2030</a:t>
            </a:r>
          </a:p>
        </p:txBody>
      </p:sp>
      <p:pic>
        <p:nvPicPr>
          <p:cNvPr id="13" name="Picture 2" descr="Bildergebnis für 1970 konstruktionsbüro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7063" y="2113890"/>
            <a:ext cx="3600450" cy="3564804"/>
          </a:xfrm>
          <a:prstGeom prst="rect">
            <a:avLst/>
          </a:prstGeom>
          <a:noFill/>
        </p:spPr>
      </p:pic>
      <p:pic>
        <p:nvPicPr>
          <p:cNvPr id="14" name="Picture 4" descr="Bildergebnis für 2000 konstruktionsbüro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338489" y="2113890"/>
            <a:ext cx="3600000" cy="2400000"/>
          </a:xfrm>
          <a:prstGeom prst="rect">
            <a:avLst/>
          </a:prstGeom>
          <a:noFill/>
        </p:spPr>
      </p:pic>
      <p:pic>
        <p:nvPicPr>
          <p:cNvPr id="15" name="Picture 6" descr="Bildergebnis für siemens digital enterprise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030686" y="2119864"/>
            <a:ext cx="3600000" cy="2028814"/>
          </a:xfrm>
          <a:prstGeom prst="rect">
            <a:avLst/>
          </a:prstGeom>
          <a:noFill/>
        </p:spPr>
      </p:pic>
      <p:sp>
        <p:nvSpPr>
          <p:cNvPr id="16" name="Textfeld 15"/>
          <p:cNvSpPr txBox="1"/>
          <p:nvPr/>
        </p:nvSpPr>
        <p:spPr>
          <a:xfrm>
            <a:off x="1448269" y="5663135"/>
            <a:ext cx="1835439" cy="529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de-DE" sz="2800" b="1">
                <a:solidFill>
                  <a:schemeClr val="tx2"/>
                </a:solidFill>
              </a:rPr>
              <a:t>C</a:t>
            </a:r>
            <a:r>
              <a:rPr lang="de-DE" sz="2800" b="1" baseline="-25000">
                <a:solidFill>
                  <a:schemeClr val="tx2"/>
                </a:solidFill>
              </a:rPr>
              <a:t>E</a:t>
            </a:r>
            <a:r>
              <a:rPr lang="de-DE" sz="2800" b="1">
                <a:solidFill>
                  <a:schemeClr val="tx2"/>
                </a:solidFill>
              </a:rPr>
              <a:t> ≈ 0,2 C</a:t>
            </a:r>
            <a:r>
              <a:rPr lang="de-DE" sz="2800" b="1" baseline="-25000">
                <a:solidFill>
                  <a:schemeClr val="tx2"/>
                </a:solidFill>
              </a:rPr>
              <a:t>P</a:t>
            </a:r>
          </a:p>
          <a:p>
            <a:pPr>
              <a:spcBef>
                <a:spcPts val="0"/>
              </a:spcBef>
            </a:pPr>
            <a:endParaRPr lang="de-DE" sz="2800" err="1">
              <a:solidFill>
                <a:schemeClr val="tx2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5173208" y="4703972"/>
            <a:ext cx="1835439" cy="529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de-DE" sz="2800" b="1">
                <a:solidFill>
                  <a:schemeClr val="tx2"/>
                </a:solidFill>
              </a:rPr>
              <a:t>C</a:t>
            </a:r>
            <a:r>
              <a:rPr lang="de-DE" sz="2800" b="1" baseline="-25000">
                <a:solidFill>
                  <a:schemeClr val="tx2"/>
                </a:solidFill>
              </a:rPr>
              <a:t>E</a:t>
            </a:r>
            <a:r>
              <a:rPr lang="de-DE" sz="2800" b="1">
                <a:solidFill>
                  <a:schemeClr val="tx2"/>
                </a:solidFill>
              </a:rPr>
              <a:t> ≈ 0,1 C</a:t>
            </a:r>
            <a:r>
              <a:rPr lang="de-DE" sz="2800" b="1" baseline="-25000">
                <a:solidFill>
                  <a:schemeClr val="tx2"/>
                </a:solidFill>
              </a:rPr>
              <a:t>P</a:t>
            </a:r>
          </a:p>
          <a:p>
            <a:pPr>
              <a:spcBef>
                <a:spcPts val="0"/>
              </a:spcBef>
            </a:pPr>
            <a:endParaRPr lang="de-DE" sz="2800" err="1">
              <a:solidFill>
                <a:schemeClr val="tx2"/>
              </a:solidFill>
            </a:endParaRPr>
          </a:p>
        </p:txBody>
      </p:sp>
      <p:sp>
        <p:nvSpPr>
          <p:cNvPr id="18" name="Textfeld 17"/>
          <p:cNvSpPr txBox="1"/>
          <p:nvPr/>
        </p:nvSpPr>
        <p:spPr>
          <a:xfrm>
            <a:off x="8883968" y="4249377"/>
            <a:ext cx="1835439" cy="5290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0"/>
              </a:spcBef>
            </a:pPr>
            <a:r>
              <a:rPr lang="de-DE" sz="2800" b="1">
                <a:solidFill>
                  <a:schemeClr val="tx2"/>
                </a:solidFill>
              </a:rPr>
              <a:t>C</a:t>
            </a:r>
            <a:r>
              <a:rPr lang="de-DE" sz="2800" b="1" baseline="-25000">
                <a:solidFill>
                  <a:schemeClr val="tx2"/>
                </a:solidFill>
              </a:rPr>
              <a:t>E</a:t>
            </a:r>
            <a:r>
              <a:rPr lang="de-DE" sz="2800" b="1">
                <a:solidFill>
                  <a:schemeClr val="tx2"/>
                </a:solidFill>
              </a:rPr>
              <a:t> ≈ 0,05 C</a:t>
            </a:r>
            <a:r>
              <a:rPr lang="de-DE" sz="2800" b="1" baseline="-25000">
                <a:solidFill>
                  <a:schemeClr val="tx2"/>
                </a:solidFill>
              </a:rPr>
              <a:t>P</a:t>
            </a:r>
          </a:p>
          <a:p>
            <a:pPr>
              <a:spcBef>
                <a:spcPts val="0"/>
              </a:spcBef>
            </a:pPr>
            <a:endParaRPr lang="de-DE" sz="2800" err="1">
              <a:solidFill>
                <a:schemeClr val="tx2"/>
              </a:solidFill>
            </a:endParaRPr>
          </a:p>
        </p:txBody>
      </p:sp>
      <p:sp>
        <p:nvSpPr>
          <p:cNvPr id="19" name="Textfeld 18"/>
          <p:cNvSpPr txBox="1"/>
          <p:nvPr/>
        </p:nvSpPr>
        <p:spPr>
          <a:xfrm rot="16200000">
            <a:off x="-296428" y="4781643"/>
            <a:ext cx="166231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800">
                <a:solidFill>
                  <a:schemeClr val="tx1"/>
                </a:solidFill>
              </a:rPr>
              <a:t>Picture: Deutsche Digitale Bibliothek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4370388" y="4513890"/>
            <a:ext cx="136896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800">
                <a:solidFill>
                  <a:schemeClr val="tx1"/>
                </a:solidFill>
              </a:rPr>
              <a:t>Picture Source: </a:t>
            </a:r>
            <a:r>
              <a:rPr lang="de-DE" sz="800" err="1">
                <a:solidFill>
                  <a:schemeClr val="tx1"/>
                </a:solidFill>
              </a:rPr>
              <a:t>CADcompany</a:t>
            </a:r>
            <a:endParaRPr lang="de-DE" sz="800">
              <a:solidFill>
                <a:schemeClr val="tx1"/>
              </a:solidFill>
            </a:endParaRPr>
          </a:p>
        </p:txBody>
      </p:sp>
      <p:sp>
        <p:nvSpPr>
          <p:cNvPr id="21" name="Textfeld 20"/>
          <p:cNvSpPr txBox="1"/>
          <p:nvPr/>
        </p:nvSpPr>
        <p:spPr>
          <a:xfrm>
            <a:off x="8073218" y="4169944"/>
            <a:ext cx="77905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</a:pPr>
            <a:r>
              <a:rPr lang="de-DE" sz="800" dirty="0">
                <a:solidFill>
                  <a:schemeClr val="tx1"/>
                </a:solidFill>
              </a:rPr>
              <a:t>Picture: Siemens</a:t>
            </a:r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0" grpId="0"/>
      <p:bldP spid="11" grpId="0"/>
      <p:bldP spid="12" grpId="0"/>
      <p:bldP spid="16" grpId="0"/>
      <p:bldP spid="17" grpId="0"/>
      <p:bldP spid="18" grpId="0"/>
      <p:bldP spid="19" grpId="0"/>
      <p:bldP spid="20" grpId="0"/>
      <p:bldP spid="2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o enable the year 2030 engineering</a:t>
            </a:r>
            <a:br>
              <a:rPr lang="en-US"/>
            </a:br>
            <a:r>
              <a:rPr lang="en-US">
                <a:solidFill>
                  <a:schemeClr val="bg2">
                    <a:lumMod val="50000"/>
                  </a:schemeClr>
                </a:solidFill>
                <a:sym typeface="Wingdings" pitchFamily="2" charset="2"/>
              </a:rPr>
              <a:t> need standards for the </a:t>
            </a:r>
            <a:r>
              <a:rPr lang="en-US">
                <a:solidFill>
                  <a:srgbClr val="00B0F0"/>
                </a:solidFill>
                <a:sym typeface="Wingdings" pitchFamily="2" charset="2"/>
              </a:rPr>
              <a:t>digital twin</a:t>
            </a:r>
            <a:r>
              <a:rPr lang="en-US">
                <a:solidFill>
                  <a:schemeClr val="accent6"/>
                </a:solidFill>
              </a:rPr>
              <a:t> </a:t>
            </a:r>
          </a:p>
        </p:txBody>
      </p:sp>
      <p:pic>
        <p:nvPicPr>
          <p:cNvPr id="58372" name="Picture 4" descr="Bildergebnis für siemens digital twin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7816690" y="1667933"/>
            <a:ext cx="3799539" cy="2132057"/>
          </a:xfrm>
          <a:prstGeom prst="rect">
            <a:avLst/>
          </a:prstGeom>
          <a:noFill/>
        </p:spPr>
      </p:pic>
      <p:sp>
        <p:nvSpPr>
          <p:cNvPr id="58376" name="AutoShape 8" descr="Bildergebnis für iec standard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8380" name="AutoShape 12" descr="Ähnliches Foto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65" name="Gruppieren 164"/>
          <p:cNvGrpSpPr/>
          <p:nvPr/>
        </p:nvGrpSpPr>
        <p:grpSpPr>
          <a:xfrm>
            <a:off x="607218" y="2737569"/>
            <a:ext cx="6185118" cy="3336331"/>
            <a:chOff x="607218" y="2737569"/>
            <a:chExt cx="6185118" cy="3336331"/>
          </a:xfrm>
        </p:grpSpPr>
        <p:grpSp>
          <p:nvGrpSpPr>
            <p:cNvPr id="80" name="Teamcenter"/>
            <p:cNvGrpSpPr/>
            <p:nvPr/>
          </p:nvGrpSpPr>
          <p:grpSpPr>
            <a:xfrm>
              <a:off x="607218" y="3461965"/>
              <a:ext cx="6164494" cy="655092"/>
              <a:chOff x="2064989" y="3884858"/>
              <a:chExt cx="8100000" cy="832980"/>
            </a:xfrm>
          </p:grpSpPr>
          <p:pic>
            <p:nvPicPr>
              <p:cNvPr id="81" name="Teamcenter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064989" y="3884858"/>
                <a:ext cx="8100000" cy="832980"/>
              </a:xfrm>
              <a:prstGeom prst="rect">
                <a:avLst/>
              </a:prstGeom>
            </p:spPr>
          </p:pic>
          <p:sp>
            <p:nvSpPr>
              <p:cNvPr id="82" name="Textfeld_Teamcenter"/>
              <p:cNvSpPr txBox="1"/>
              <p:nvPr/>
            </p:nvSpPr>
            <p:spPr>
              <a:xfrm>
                <a:off x="2591141" y="4371453"/>
                <a:ext cx="7014006" cy="2084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 dirty="0" err="1">
                    <a:solidFill>
                      <a:schemeClr val="bg1"/>
                    </a:solidFill>
                  </a:rPr>
                  <a:t>CAx</a:t>
                </a:r>
                <a:r>
                  <a:rPr lang="en-US" sz="1050" b="1" dirty="0">
                    <a:solidFill>
                      <a:schemeClr val="bg1"/>
                    </a:solidFill>
                  </a:rPr>
                  <a:t> Tool Landscape: </a:t>
                </a:r>
                <a:r>
                  <a:rPr lang="en-US" sz="1050" b="1" dirty="0" err="1">
                    <a:solidFill>
                      <a:schemeClr val="bg1"/>
                    </a:solidFill>
                  </a:rPr>
                  <a:t>TeamCenter</a:t>
                </a:r>
                <a:r>
                  <a:rPr lang="en-US" sz="1050" b="1" dirty="0">
                    <a:solidFill>
                      <a:schemeClr val="bg1"/>
                    </a:solidFill>
                  </a:rPr>
                  <a:t>, NX, COMOS, </a:t>
                </a:r>
                <a:r>
                  <a:rPr lang="en-US" sz="1050" b="1" dirty="0" err="1">
                    <a:solidFill>
                      <a:schemeClr val="bg1"/>
                    </a:solidFill>
                  </a:rPr>
                  <a:t>AutomationDesigner</a:t>
                </a:r>
                <a:r>
                  <a:rPr lang="en-US" sz="1050" b="1" dirty="0">
                    <a:solidFill>
                      <a:schemeClr val="bg1"/>
                    </a:solidFill>
                  </a:rPr>
                  <a:t>, </a:t>
                </a:r>
                <a:r>
                  <a:rPr lang="en-US" sz="1050" b="1" dirty="0" err="1">
                    <a:solidFill>
                      <a:schemeClr val="bg1"/>
                    </a:solidFill>
                  </a:rPr>
                  <a:t>Technomatix</a:t>
                </a:r>
                <a:endParaRPr lang="en-US" sz="1050" b="1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83" name="Feedback-Loop_D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367" y="2737569"/>
              <a:ext cx="1155008" cy="892879"/>
            </a:xfrm>
            <a:prstGeom prst="rect">
              <a:avLst/>
            </a:prstGeom>
          </p:spPr>
        </p:pic>
        <p:pic>
          <p:nvPicPr>
            <p:cNvPr id="84" name="Feedback-Loop_C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46367" y="2822386"/>
              <a:ext cx="476110" cy="888323"/>
            </a:xfrm>
            <a:prstGeom prst="rect">
              <a:avLst/>
            </a:prstGeom>
          </p:spPr>
        </p:pic>
        <p:pic>
          <p:nvPicPr>
            <p:cNvPr id="85" name="Feedback-Loop_D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3790" y="2737569"/>
              <a:ext cx="1155008" cy="892879"/>
            </a:xfrm>
            <a:prstGeom prst="rect">
              <a:avLst/>
            </a:prstGeom>
          </p:spPr>
        </p:pic>
        <p:pic>
          <p:nvPicPr>
            <p:cNvPr id="86" name="Feedback-Loop_C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803790" y="2822386"/>
              <a:ext cx="476110" cy="888323"/>
            </a:xfrm>
            <a:prstGeom prst="rect">
              <a:avLst/>
            </a:prstGeom>
          </p:spPr>
        </p:pic>
        <p:pic>
          <p:nvPicPr>
            <p:cNvPr id="87" name="Feedback-Loop_D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6843" y="2737569"/>
              <a:ext cx="1155008" cy="892879"/>
            </a:xfrm>
            <a:prstGeom prst="rect">
              <a:avLst/>
            </a:prstGeom>
          </p:spPr>
        </p:pic>
        <p:pic>
          <p:nvPicPr>
            <p:cNvPr id="88" name="Feedback-Loop_C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856843" y="2822386"/>
              <a:ext cx="476110" cy="888323"/>
            </a:xfrm>
            <a:prstGeom prst="rect">
              <a:avLst/>
            </a:prstGeom>
          </p:spPr>
        </p:pic>
        <p:pic>
          <p:nvPicPr>
            <p:cNvPr id="89" name="Feedback-Loop_D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6210" y="2737569"/>
              <a:ext cx="1155008" cy="892879"/>
            </a:xfrm>
            <a:prstGeom prst="rect">
              <a:avLst/>
            </a:prstGeom>
          </p:spPr>
        </p:pic>
        <p:pic>
          <p:nvPicPr>
            <p:cNvPr id="90" name="Feedback-Loop_C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06210" y="2822386"/>
              <a:ext cx="476110" cy="888323"/>
            </a:xfrm>
            <a:prstGeom prst="rect">
              <a:avLst/>
            </a:prstGeom>
          </p:spPr>
        </p:pic>
        <p:pic>
          <p:nvPicPr>
            <p:cNvPr id="91" name="Feedback-Loop_B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1825" y="2737569"/>
              <a:ext cx="1684019" cy="892879"/>
            </a:xfrm>
            <a:prstGeom prst="rect">
              <a:avLst/>
            </a:prstGeom>
          </p:spPr>
        </p:pic>
        <p:pic>
          <p:nvPicPr>
            <p:cNvPr id="92" name="Feedback-Loop_C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3032" y="2822386"/>
              <a:ext cx="476110" cy="888323"/>
            </a:xfrm>
            <a:prstGeom prst="rect">
              <a:avLst/>
            </a:prstGeom>
          </p:spPr>
        </p:pic>
        <p:pic>
          <p:nvPicPr>
            <p:cNvPr id="93" name="Feedback-Loop_A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54142" y="2830687"/>
              <a:ext cx="471701" cy="883767"/>
            </a:xfrm>
            <a:prstGeom prst="rect">
              <a:avLst/>
            </a:prstGeom>
          </p:spPr>
        </p:pic>
        <p:pic>
          <p:nvPicPr>
            <p:cNvPr id="94" name="Digital-thread"/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4388" r="15082"/>
            <a:stretch/>
          </p:blipFill>
          <p:spPr>
            <a:xfrm>
              <a:off x="746366" y="2933568"/>
              <a:ext cx="5879477" cy="764423"/>
            </a:xfrm>
            <a:prstGeom prst="rect">
              <a:avLst/>
            </a:prstGeom>
          </p:spPr>
        </p:pic>
        <p:grpSp>
          <p:nvGrpSpPr>
            <p:cNvPr id="95" name="Services"/>
            <p:cNvGrpSpPr/>
            <p:nvPr/>
          </p:nvGrpSpPr>
          <p:grpSpPr>
            <a:xfrm>
              <a:off x="5101691" y="2916214"/>
              <a:ext cx="1391587" cy="798397"/>
              <a:chOff x="7970621" y="3190909"/>
              <a:chExt cx="1828513" cy="1015200"/>
            </a:xfrm>
          </p:grpSpPr>
          <p:pic>
            <p:nvPicPr>
              <p:cNvPr id="96" name="Services"/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970621" y="3190909"/>
                <a:ext cx="1828513" cy="1015200"/>
              </a:xfrm>
              <a:prstGeom prst="rect">
                <a:avLst/>
              </a:prstGeom>
            </p:spPr>
          </p:pic>
          <p:sp>
            <p:nvSpPr>
              <p:cNvPr id="97" name="Textfeld_Services"/>
              <p:cNvSpPr txBox="1"/>
              <p:nvPr/>
            </p:nvSpPr>
            <p:spPr>
              <a:xfrm>
                <a:off x="8625805" y="3316734"/>
                <a:ext cx="730890" cy="20847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>
                    <a:solidFill>
                      <a:schemeClr val="bg1"/>
                    </a:solidFill>
                  </a:rPr>
                  <a:t>Services</a:t>
                </a:r>
              </a:p>
            </p:txBody>
          </p:sp>
        </p:grpSp>
        <p:grpSp>
          <p:nvGrpSpPr>
            <p:cNvPr id="98" name="Production-execution"/>
            <p:cNvGrpSpPr/>
            <p:nvPr/>
          </p:nvGrpSpPr>
          <p:grpSpPr>
            <a:xfrm>
              <a:off x="4046742" y="2916214"/>
              <a:ext cx="1391587" cy="798397"/>
              <a:chOff x="6584442" y="3190909"/>
              <a:chExt cx="1828513" cy="1015200"/>
            </a:xfrm>
          </p:grpSpPr>
          <p:pic>
            <p:nvPicPr>
              <p:cNvPr id="99" name="Production-execution"/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84442" y="3190909"/>
                <a:ext cx="1828513" cy="1015200"/>
              </a:xfrm>
              <a:prstGeom prst="rect">
                <a:avLst/>
              </a:prstGeom>
            </p:spPr>
          </p:pic>
          <p:sp>
            <p:nvSpPr>
              <p:cNvPr id="100" name="Textfeld_Production-execution"/>
              <p:cNvSpPr txBox="1"/>
              <p:nvPr/>
            </p:nvSpPr>
            <p:spPr>
              <a:xfrm>
                <a:off x="7244953" y="3316734"/>
                <a:ext cx="930988" cy="4344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>
                    <a:solidFill>
                      <a:schemeClr val="bg1"/>
                    </a:solidFill>
                  </a:rPr>
                  <a:t>Production</a:t>
                </a:r>
                <a:br>
                  <a:rPr lang="en-US" sz="1050" b="1">
                    <a:solidFill>
                      <a:schemeClr val="bg1"/>
                    </a:solidFill>
                  </a:rPr>
                </a:br>
                <a:r>
                  <a:rPr lang="en-US" sz="1050" b="1">
                    <a:solidFill>
                      <a:schemeClr val="bg1"/>
                    </a:solidFill>
                  </a:rPr>
                  <a:t>execution</a:t>
                </a:r>
              </a:p>
            </p:txBody>
          </p:sp>
        </p:grpSp>
        <p:grpSp>
          <p:nvGrpSpPr>
            <p:cNvPr id="101" name="Production-engineering"/>
            <p:cNvGrpSpPr/>
            <p:nvPr/>
          </p:nvGrpSpPr>
          <p:grpSpPr>
            <a:xfrm>
              <a:off x="2998178" y="2916214"/>
              <a:ext cx="1391587" cy="798397"/>
              <a:chOff x="5206654" y="3190909"/>
              <a:chExt cx="1828513" cy="1015200"/>
            </a:xfrm>
          </p:grpSpPr>
          <p:pic>
            <p:nvPicPr>
              <p:cNvPr id="102" name="Production-engineering"/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206654" y="3190909"/>
                <a:ext cx="1828513" cy="1015200"/>
              </a:xfrm>
              <a:prstGeom prst="rect">
                <a:avLst/>
              </a:prstGeom>
            </p:spPr>
          </p:pic>
          <p:sp>
            <p:nvSpPr>
              <p:cNvPr id="103" name="Textfeld_Production-engineering"/>
              <p:cNvSpPr txBox="1"/>
              <p:nvPr/>
            </p:nvSpPr>
            <p:spPr>
              <a:xfrm>
                <a:off x="5869362" y="3316734"/>
                <a:ext cx="1000497" cy="4344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>
                    <a:solidFill>
                      <a:schemeClr val="bg1"/>
                    </a:solidFill>
                  </a:rPr>
                  <a:t>Production</a:t>
                </a:r>
                <a:br>
                  <a:rPr lang="en-US" sz="1050" b="1">
                    <a:solidFill>
                      <a:schemeClr val="bg1"/>
                    </a:solidFill>
                  </a:rPr>
                </a:br>
                <a:r>
                  <a:rPr lang="en-US" sz="1050" b="1">
                    <a:solidFill>
                      <a:schemeClr val="bg1"/>
                    </a:solidFill>
                  </a:rPr>
                  <a:t>engineering</a:t>
                </a:r>
              </a:p>
            </p:txBody>
          </p:sp>
        </p:grpSp>
        <p:grpSp>
          <p:nvGrpSpPr>
            <p:cNvPr id="104" name="Production-planning"/>
            <p:cNvGrpSpPr/>
            <p:nvPr/>
          </p:nvGrpSpPr>
          <p:grpSpPr>
            <a:xfrm>
              <a:off x="1943715" y="2916214"/>
              <a:ext cx="1391587" cy="798397"/>
              <a:chOff x="3821115" y="3190909"/>
              <a:chExt cx="1828513" cy="1015200"/>
            </a:xfrm>
          </p:grpSpPr>
          <p:pic>
            <p:nvPicPr>
              <p:cNvPr id="105" name="Production-planning"/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821115" y="3190909"/>
                <a:ext cx="1828513" cy="1015200"/>
              </a:xfrm>
              <a:prstGeom prst="rect">
                <a:avLst/>
              </a:prstGeom>
            </p:spPr>
          </p:pic>
          <p:sp>
            <p:nvSpPr>
              <p:cNvPr id="106" name="Textfeld_Production-planning"/>
              <p:cNvSpPr txBox="1"/>
              <p:nvPr/>
            </p:nvSpPr>
            <p:spPr>
              <a:xfrm>
                <a:off x="4481091" y="3316734"/>
                <a:ext cx="930988" cy="4344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>
                    <a:solidFill>
                      <a:schemeClr val="bg1"/>
                    </a:solidFill>
                  </a:rPr>
                  <a:t>Production</a:t>
                </a:r>
                <a:br>
                  <a:rPr lang="en-US" sz="1050" b="1">
                    <a:solidFill>
                      <a:schemeClr val="bg1"/>
                    </a:solidFill>
                  </a:rPr>
                </a:br>
                <a:r>
                  <a:rPr lang="en-US" sz="1050" b="1">
                    <a:solidFill>
                      <a:schemeClr val="bg1"/>
                    </a:solidFill>
                  </a:rPr>
                  <a:t>planning</a:t>
                </a:r>
              </a:p>
            </p:txBody>
          </p:sp>
        </p:grpSp>
        <p:grpSp>
          <p:nvGrpSpPr>
            <p:cNvPr id="107" name="Product-design"/>
            <p:cNvGrpSpPr/>
            <p:nvPr/>
          </p:nvGrpSpPr>
          <p:grpSpPr>
            <a:xfrm>
              <a:off x="892246" y="2916214"/>
              <a:ext cx="1391587" cy="798397"/>
              <a:chOff x="2439509" y="3190909"/>
              <a:chExt cx="1828513" cy="1015200"/>
            </a:xfrm>
          </p:grpSpPr>
          <p:pic>
            <p:nvPicPr>
              <p:cNvPr id="108" name="Product-design"/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439509" y="3190909"/>
                <a:ext cx="1828513" cy="1015200"/>
              </a:xfrm>
              <a:prstGeom prst="rect">
                <a:avLst/>
              </a:prstGeom>
            </p:spPr>
          </p:pic>
          <p:sp>
            <p:nvSpPr>
              <p:cNvPr id="109" name="Textfeld_Product-design"/>
              <p:cNvSpPr txBox="1"/>
              <p:nvPr/>
            </p:nvSpPr>
            <p:spPr>
              <a:xfrm>
                <a:off x="3097253" y="3316734"/>
                <a:ext cx="667700" cy="43448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US" sz="1050" b="1" dirty="0">
                    <a:solidFill>
                      <a:schemeClr val="bg1"/>
                    </a:solidFill>
                  </a:rPr>
                  <a:t>Product</a:t>
                </a:r>
                <a:br>
                  <a:rPr lang="en-US" sz="1050" b="1" dirty="0">
                    <a:solidFill>
                      <a:schemeClr val="bg1"/>
                    </a:solidFill>
                  </a:rPr>
                </a:br>
                <a:r>
                  <a:rPr lang="en-US" sz="1050" b="1" dirty="0">
                    <a:solidFill>
                      <a:schemeClr val="bg1"/>
                    </a:solidFill>
                  </a:rPr>
                  <a:t>design</a:t>
                </a:r>
              </a:p>
            </p:txBody>
          </p:sp>
        </p:grpSp>
        <p:sp>
          <p:nvSpPr>
            <p:cNvPr id="110" name="Rechteck 109"/>
            <p:cNvSpPr/>
            <p:nvPr/>
          </p:nvSpPr>
          <p:spPr bwMode="auto">
            <a:xfrm>
              <a:off x="607218" y="4295050"/>
              <a:ext cx="6164494" cy="47662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rtlCol="0" anchor="ctr"/>
            <a:lstStyle/>
            <a:p>
              <a:pPr algn="ctr"/>
              <a:endParaRPr lang="en-US" b="1">
                <a:solidFill>
                  <a:schemeClr val="tx1"/>
                </a:solidFill>
              </a:endParaRPr>
            </a:p>
          </p:txBody>
        </p:sp>
        <p:sp>
          <p:nvSpPr>
            <p:cNvPr id="111" name="Textfeld 110"/>
            <p:cNvSpPr txBox="1"/>
            <p:nvPr/>
          </p:nvSpPr>
          <p:spPr>
            <a:xfrm>
              <a:off x="891249" y="4389437"/>
              <a:ext cx="5638275" cy="276999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b="1">
                  <a:solidFill>
                    <a:schemeClr val="tx1"/>
                  </a:solidFill>
                </a:rPr>
                <a:t>Product Data Library, based on semantic standards</a:t>
              </a:r>
            </a:p>
          </p:txBody>
        </p:sp>
        <p:grpSp>
          <p:nvGrpSpPr>
            <p:cNvPr id="112" name="Gruppieren 3"/>
            <p:cNvGrpSpPr/>
            <p:nvPr/>
          </p:nvGrpSpPr>
          <p:grpSpPr bwMode="gray">
            <a:xfrm>
              <a:off x="3335303" y="4128403"/>
              <a:ext cx="362811" cy="141560"/>
              <a:chOff x="1417605" y="3099569"/>
              <a:chExt cx="486030" cy="180000"/>
            </a:xfrm>
          </p:grpSpPr>
          <p:sp>
            <p:nvSpPr>
              <p:cNvPr id="113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14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15" name="Gruppieren 3"/>
            <p:cNvGrpSpPr/>
            <p:nvPr/>
          </p:nvGrpSpPr>
          <p:grpSpPr bwMode="gray">
            <a:xfrm>
              <a:off x="2283833" y="4117057"/>
              <a:ext cx="362811" cy="141560"/>
              <a:chOff x="1417605" y="3099569"/>
              <a:chExt cx="486030" cy="180000"/>
            </a:xfrm>
          </p:grpSpPr>
          <p:sp>
            <p:nvSpPr>
              <p:cNvPr id="116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17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18" name="Gruppieren 3"/>
            <p:cNvGrpSpPr/>
            <p:nvPr/>
          </p:nvGrpSpPr>
          <p:grpSpPr bwMode="gray">
            <a:xfrm>
              <a:off x="1156044" y="4117057"/>
              <a:ext cx="362811" cy="141560"/>
              <a:chOff x="1417605" y="3099569"/>
              <a:chExt cx="486030" cy="180000"/>
            </a:xfrm>
          </p:grpSpPr>
          <p:sp>
            <p:nvSpPr>
              <p:cNvPr id="119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20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21" name="Gruppieren 3"/>
            <p:cNvGrpSpPr/>
            <p:nvPr/>
          </p:nvGrpSpPr>
          <p:grpSpPr bwMode="gray">
            <a:xfrm>
              <a:off x="4536751" y="4117057"/>
              <a:ext cx="362811" cy="141560"/>
              <a:chOff x="1417605" y="3099569"/>
              <a:chExt cx="486030" cy="180000"/>
            </a:xfrm>
          </p:grpSpPr>
          <p:sp>
            <p:nvSpPr>
              <p:cNvPr id="122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23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24" name="Gruppieren 3"/>
            <p:cNvGrpSpPr/>
            <p:nvPr/>
          </p:nvGrpSpPr>
          <p:grpSpPr bwMode="gray">
            <a:xfrm>
              <a:off x="5600318" y="4117057"/>
              <a:ext cx="362811" cy="141560"/>
              <a:chOff x="1417605" y="3099569"/>
              <a:chExt cx="486030" cy="180000"/>
            </a:xfrm>
          </p:grpSpPr>
          <p:sp>
            <p:nvSpPr>
              <p:cNvPr id="125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26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27" name="Gruppieren 3"/>
            <p:cNvGrpSpPr/>
            <p:nvPr/>
          </p:nvGrpSpPr>
          <p:grpSpPr bwMode="gray">
            <a:xfrm>
              <a:off x="2838164" y="4837902"/>
              <a:ext cx="362811" cy="141560"/>
              <a:chOff x="1417605" y="3099569"/>
              <a:chExt cx="486030" cy="180000"/>
            </a:xfrm>
          </p:grpSpPr>
          <p:sp>
            <p:nvSpPr>
              <p:cNvPr id="128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29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30" name="Gruppieren 3"/>
            <p:cNvGrpSpPr/>
            <p:nvPr/>
          </p:nvGrpSpPr>
          <p:grpSpPr bwMode="gray">
            <a:xfrm>
              <a:off x="1767137" y="4826556"/>
              <a:ext cx="362811" cy="141560"/>
              <a:chOff x="1417605" y="3099569"/>
              <a:chExt cx="486030" cy="180000"/>
            </a:xfrm>
          </p:grpSpPr>
          <p:sp>
            <p:nvSpPr>
              <p:cNvPr id="131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32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33" name="Gruppieren 3"/>
            <p:cNvGrpSpPr/>
            <p:nvPr/>
          </p:nvGrpSpPr>
          <p:grpSpPr bwMode="gray">
            <a:xfrm>
              <a:off x="736454" y="4826556"/>
              <a:ext cx="362811" cy="141560"/>
              <a:chOff x="1417605" y="3099569"/>
              <a:chExt cx="486030" cy="180000"/>
            </a:xfrm>
          </p:grpSpPr>
          <p:sp>
            <p:nvSpPr>
              <p:cNvPr id="134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35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36" name="Gruppieren 3"/>
            <p:cNvGrpSpPr/>
            <p:nvPr/>
          </p:nvGrpSpPr>
          <p:grpSpPr bwMode="gray">
            <a:xfrm>
              <a:off x="4310799" y="4826556"/>
              <a:ext cx="362811" cy="141560"/>
              <a:chOff x="1417605" y="3099569"/>
              <a:chExt cx="486030" cy="180000"/>
            </a:xfrm>
          </p:grpSpPr>
          <p:sp>
            <p:nvSpPr>
              <p:cNvPr id="137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38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39" name="Gruppieren 3"/>
            <p:cNvGrpSpPr/>
            <p:nvPr/>
          </p:nvGrpSpPr>
          <p:grpSpPr bwMode="gray">
            <a:xfrm>
              <a:off x="5377274" y="4826556"/>
              <a:ext cx="362811" cy="141560"/>
              <a:chOff x="1417605" y="3099569"/>
              <a:chExt cx="486030" cy="180000"/>
            </a:xfrm>
          </p:grpSpPr>
          <p:sp>
            <p:nvSpPr>
              <p:cNvPr id="140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41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grpSp>
          <p:nvGrpSpPr>
            <p:cNvPr id="142" name="Gruppieren 3"/>
            <p:cNvGrpSpPr/>
            <p:nvPr/>
          </p:nvGrpSpPr>
          <p:grpSpPr bwMode="gray">
            <a:xfrm>
              <a:off x="6394938" y="4862787"/>
              <a:ext cx="362811" cy="141560"/>
              <a:chOff x="1417605" y="3099569"/>
              <a:chExt cx="486030" cy="180000"/>
            </a:xfrm>
          </p:grpSpPr>
          <p:sp>
            <p:nvSpPr>
              <p:cNvPr id="143" name="Gleichschenkliges Dreieck 47"/>
              <p:cNvSpPr/>
              <p:nvPr/>
            </p:nvSpPr>
            <p:spPr bwMode="gray">
              <a:xfrm>
                <a:off x="1614511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  <p:sp>
            <p:nvSpPr>
              <p:cNvPr id="144" name="Gleichschenkliges Dreieck 48"/>
              <p:cNvSpPr/>
              <p:nvPr/>
            </p:nvSpPr>
            <p:spPr bwMode="gray">
              <a:xfrm flipV="1">
                <a:off x="1417605" y="3099569"/>
                <a:ext cx="289124" cy="180000"/>
              </a:xfrm>
              <a:prstGeom prst="triangle">
                <a:avLst/>
              </a:prstGeom>
              <a:solidFill>
                <a:srgbClr val="3C464B"/>
              </a:solidFill>
              <a:ln>
                <a:noFill/>
              </a:ln>
              <a:effectLst/>
              <a:extLst/>
            </p:spPr>
            <p:txBody>
              <a:bodyPr rot="0" spcFirstLastPara="0" vertOverflow="overflow" horzOverflow="overflow" vert="horz" wrap="square" lIns="0" tIns="0" rIns="0" bIns="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l" defTabSz="914400" rtl="0" eaLnBrk="1" fontAlgn="base" latinLnBrk="0" hangingPunct="1"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/>
                  <a:ea typeface="ヒラギノ角ゴ Pro W3" charset="0"/>
                </a:endParaRPr>
              </a:p>
            </p:txBody>
          </p:sp>
        </p:grpSp>
        <p:pic>
          <p:nvPicPr>
            <p:cNvPr id="146" name="Picture 69" descr="eclass_logo_capd_2000"/>
            <p:cNvPicPr>
              <a:picLocks noChangeAspect="1" noChangeArrowheads="1"/>
            </p:cNvPicPr>
            <p:nvPr/>
          </p:nvPicPr>
          <p:blipFill>
            <a:blip r:embed="rId1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19379668">
              <a:off x="1474797" y="5303465"/>
              <a:ext cx="1323017" cy="40827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7" name="Picture 12" descr="Bildergebnis für owl rdf"/>
            <p:cNvPicPr>
              <a:picLocks noChangeAspect="1" noChangeArrowheads="1"/>
            </p:cNvPicPr>
            <p:nvPr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607218" y="5075496"/>
              <a:ext cx="798077" cy="862699"/>
            </a:xfrm>
            <a:prstGeom prst="rect">
              <a:avLst/>
            </a:prstGeom>
            <a:noFill/>
          </p:spPr>
        </p:pic>
        <p:pic>
          <p:nvPicPr>
            <p:cNvPr id="148" name="Picture 14" descr="Bildergebnis für owl semantics"/>
            <p:cNvPicPr>
              <a:picLocks noChangeAspect="1" noChangeArrowheads="1"/>
            </p:cNvPicPr>
            <p:nvPr/>
          </p:nvPicPr>
          <p:blipFill>
            <a:blip r:embed="rId16"/>
            <a:srcRect/>
            <a:stretch>
              <a:fillRect/>
            </a:stretch>
          </p:blipFill>
          <p:spPr bwMode="auto">
            <a:xfrm>
              <a:off x="2792588" y="5004347"/>
              <a:ext cx="560986" cy="898930"/>
            </a:xfrm>
            <a:prstGeom prst="rect">
              <a:avLst/>
            </a:prstGeom>
            <a:noFill/>
          </p:spPr>
        </p:pic>
        <p:pic>
          <p:nvPicPr>
            <p:cNvPr id="58374" name="Picture 6" descr="Bildergebnis für iso standard semantics"/>
            <p:cNvPicPr>
              <a:picLocks noChangeAspect="1" noChangeArrowheads="1"/>
            </p:cNvPicPr>
            <p:nvPr/>
          </p:nvPicPr>
          <p:blipFill>
            <a:blip r:embed="rId17"/>
            <a:srcRect/>
            <a:stretch>
              <a:fillRect/>
            </a:stretch>
          </p:blipFill>
          <p:spPr bwMode="auto">
            <a:xfrm>
              <a:off x="6267533" y="5030843"/>
              <a:ext cx="504179" cy="465396"/>
            </a:xfrm>
            <a:prstGeom prst="rect">
              <a:avLst/>
            </a:prstGeom>
            <a:noFill/>
          </p:spPr>
        </p:pic>
        <p:pic>
          <p:nvPicPr>
            <p:cNvPr id="58378" name="Picture 10" descr="Ähnliches Foto"/>
            <p:cNvPicPr>
              <a:picLocks noChangeAspect="1" noChangeArrowheads="1"/>
            </p:cNvPicPr>
            <p:nvPr/>
          </p:nvPicPr>
          <p:blipFill>
            <a:blip r:embed="rId18"/>
            <a:srcRect/>
            <a:stretch>
              <a:fillRect/>
            </a:stretch>
          </p:blipFill>
          <p:spPr bwMode="auto">
            <a:xfrm>
              <a:off x="4263958" y="5004347"/>
              <a:ext cx="470626" cy="470626"/>
            </a:xfrm>
            <a:prstGeom prst="rect">
              <a:avLst/>
            </a:prstGeom>
            <a:noFill/>
          </p:spPr>
        </p:pic>
        <p:pic>
          <p:nvPicPr>
            <p:cNvPr id="58381" name="Picture 13"/>
            <p:cNvPicPr>
              <a:picLocks noChangeAspect="1" noChangeArrowheads="1"/>
            </p:cNvPicPr>
            <p:nvPr/>
          </p:nvPicPr>
          <p:blipFill>
            <a:blip r:embed="rId19"/>
            <a:srcRect/>
            <a:stretch>
              <a:fillRect/>
            </a:stretch>
          </p:blipFill>
          <p:spPr bwMode="auto">
            <a:xfrm>
              <a:off x="4985874" y="4941331"/>
              <a:ext cx="977256" cy="6356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4" name="Textfeld 153"/>
            <p:cNvSpPr txBox="1"/>
            <p:nvPr/>
          </p:nvSpPr>
          <p:spPr>
            <a:xfrm>
              <a:off x="3381146" y="5581457"/>
              <a:ext cx="3411190" cy="49244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spcBef>
                  <a:spcPts val="0"/>
                </a:spcBef>
              </a:pPr>
              <a:r>
                <a:rPr lang="en-US" sz="1600" dirty="0">
                  <a:solidFill>
                    <a:schemeClr val="tx1"/>
                  </a:solidFill>
                </a:rPr>
                <a:t>Generic Frameworks are not enough</a:t>
              </a:r>
            </a:p>
            <a:p>
              <a:pPr algn="ctr">
                <a:spcBef>
                  <a:spcPts val="0"/>
                </a:spcBef>
              </a:pPr>
              <a:r>
                <a:rPr lang="en-US" sz="1600" dirty="0">
                  <a:solidFill>
                    <a:schemeClr val="tx1"/>
                  </a:solidFill>
                </a:rPr>
                <a:t>Product related contend is needed</a:t>
              </a:r>
            </a:p>
          </p:txBody>
        </p:sp>
      </p:grpSp>
      <p:grpSp>
        <p:nvGrpSpPr>
          <p:cNvPr id="166" name="Gruppieren 165"/>
          <p:cNvGrpSpPr/>
          <p:nvPr/>
        </p:nvGrpSpPr>
        <p:grpSpPr>
          <a:xfrm>
            <a:off x="6860219" y="4269963"/>
            <a:ext cx="5541911" cy="2243701"/>
            <a:chOff x="6860219" y="4269963"/>
            <a:chExt cx="5541911" cy="2243701"/>
          </a:xfrm>
        </p:grpSpPr>
        <p:sp>
          <p:nvSpPr>
            <p:cNvPr id="155" name="AutoShape 3"/>
            <p:cNvSpPr>
              <a:spLocks noChangeArrowheads="1"/>
            </p:cNvSpPr>
            <p:nvPr/>
          </p:nvSpPr>
          <p:spPr bwMode="auto">
            <a:xfrm>
              <a:off x="6860219" y="4293740"/>
              <a:ext cx="886782" cy="1915215"/>
            </a:xfrm>
            <a:prstGeom prst="homePlate">
              <a:avLst>
                <a:gd name="adj" fmla="val 100000"/>
              </a:avLst>
            </a:prstGeom>
            <a:solidFill>
              <a:srgbClr val="BECDD7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/>
            </a:p>
          </p:txBody>
        </p:sp>
        <p:sp>
          <p:nvSpPr>
            <p:cNvPr id="156" name="Textfeld 155"/>
            <p:cNvSpPr txBox="1"/>
            <p:nvPr/>
          </p:nvSpPr>
          <p:spPr>
            <a:xfrm>
              <a:off x="7799757" y="4269963"/>
              <a:ext cx="3572933" cy="193899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0"/>
                </a:spcBef>
              </a:pPr>
              <a:r>
                <a:rPr lang="en-US" dirty="0">
                  <a:solidFill>
                    <a:schemeClr val="tx1"/>
                  </a:solidFill>
                </a:rPr>
                <a:t>ISO/TC 37 is providing some good fundamental/basic standards for terminology and semantics!</a:t>
              </a:r>
            </a:p>
            <a:p>
              <a:pPr>
                <a:spcBef>
                  <a:spcPts val="0"/>
                </a:spcBef>
              </a:pPr>
              <a:endParaRPr lang="en-US" dirty="0">
                <a:solidFill>
                  <a:schemeClr val="tx1"/>
                </a:solidFill>
              </a:endParaRPr>
            </a:p>
            <a:p>
              <a:pPr>
                <a:spcBef>
                  <a:spcPts val="0"/>
                </a:spcBef>
              </a:pPr>
              <a:r>
                <a:rPr lang="en-US" dirty="0">
                  <a:solidFill>
                    <a:srgbClr val="C00000"/>
                  </a:solidFill>
                </a:rPr>
                <a:t>Industries must engage in projects to provide </a:t>
              </a:r>
              <a:r>
                <a:rPr lang="en-US" u="sng" dirty="0">
                  <a:solidFill>
                    <a:srgbClr val="C00000"/>
                  </a:solidFill>
                </a:rPr>
                <a:t>semantic content</a:t>
              </a:r>
              <a:r>
                <a:rPr lang="en-US" dirty="0">
                  <a:solidFill>
                    <a:srgbClr val="C00000"/>
                  </a:solidFill>
                </a:rPr>
                <a:t> for their respective fields!</a:t>
              </a:r>
            </a:p>
          </p:txBody>
        </p:sp>
        <p:pic>
          <p:nvPicPr>
            <p:cNvPr id="58385" name="Picture 17" descr="Ähnliches Foto"/>
            <p:cNvPicPr>
              <a:picLocks noChangeAspect="1" noChangeArrowheads="1"/>
            </p:cNvPicPr>
            <p:nvPr/>
          </p:nvPicPr>
          <p:blipFill>
            <a:blip r:embed="rId20"/>
            <a:srcRect/>
            <a:stretch>
              <a:fillRect/>
            </a:stretch>
          </p:blipFill>
          <p:spPr bwMode="auto">
            <a:xfrm>
              <a:off x="11208346" y="4395182"/>
              <a:ext cx="609164" cy="609165"/>
            </a:xfrm>
            <a:prstGeom prst="rect">
              <a:avLst/>
            </a:prstGeom>
            <a:noFill/>
          </p:spPr>
        </p:pic>
        <p:pic>
          <p:nvPicPr>
            <p:cNvPr id="58387" name="Picture 19" descr="Bildergebnis für ausrufezeichen"/>
            <p:cNvPicPr>
              <a:picLocks noChangeAspect="1" noChangeArrowheads="1"/>
            </p:cNvPicPr>
            <p:nvPr/>
          </p:nvPicPr>
          <p:blipFill>
            <a:blip r:embed="rId21"/>
            <a:srcRect/>
            <a:stretch>
              <a:fillRect/>
            </a:stretch>
          </p:blipFill>
          <p:spPr bwMode="auto">
            <a:xfrm>
              <a:off x="10563727" y="4946425"/>
              <a:ext cx="1838403" cy="1567239"/>
            </a:xfrm>
            <a:prstGeom prst="rect">
              <a:avLst/>
            </a:prstGeom>
            <a:noFill/>
          </p:spPr>
        </p:pic>
      </p:grpSp>
      <p:cxnSp>
        <p:nvCxnSpPr>
          <p:cNvPr id="161" name="Gerade Verbindung 160"/>
          <p:cNvCxnSpPr/>
          <p:nvPr/>
        </p:nvCxnSpPr>
        <p:spPr bwMode="auto">
          <a:xfrm>
            <a:off x="4082014" y="1151450"/>
            <a:ext cx="1442246" cy="0"/>
          </a:xfrm>
          <a:prstGeom prst="line">
            <a:avLst/>
          </a:prstGeom>
          <a:solidFill>
            <a:schemeClr val="tx2"/>
          </a:solidFill>
          <a:ln w="5715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63" name="Freihandform 162"/>
          <p:cNvSpPr/>
          <p:nvPr/>
        </p:nvSpPr>
        <p:spPr bwMode="auto">
          <a:xfrm>
            <a:off x="4398433" y="1151450"/>
            <a:ext cx="3348567" cy="1676417"/>
          </a:xfrm>
          <a:custGeom>
            <a:avLst/>
            <a:gdLst>
              <a:gd name="connsiteX0" fmla="*/ 478367 w 3348567"/>
              <a:gd name="connsiteY0" fmla="*/ 0 h 1549400"/>
              <a:gd name="connsiteX1" fmla="*/ 478367 w 3348567"/>
              <a:gd name="connsiteY1" fmla="*/ 719666 h 1549400"/>
              <a:gd name="connsiteX2" fmla="*/ 3348567 w 3348567"/>
              <a:gd name="connsiteY2" fmla="*/ 1549400 h 1549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48567" h="1549400">
                <a:moveTo>
                  <a:pt x="478367" y="0"/>
                </a:moveTo>
                <a:cubicBezTo>
                  <a:pt x="239183" y="230716"/>
                  <a:pt x="0" y="461433"/>
                  <a:pt x="478367" y="719666"/>
                </a:cubicBezTo>
                <a:cubicBezTo>
                  <a:pt x="956734" y="977899"/>
                  <a:pt x="2152650" y="1263649"/>
                  <a:pt x="3348567" y="1549400"/>
                </a:cubicBezTo>
              </a:path>
            </a:pathLst>
          </a:custGeom>
          <a:noFill/>
          <a:ln w="57150" cap="flat" cmpd="sng" algn="ctr">
            <a:solidFill>
              <a:schemeClr val="accent5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triangl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3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>
            <a:extLst>
              <a:ext uri="{FF2B5EF4-FFF2-40B4-BE49-F238E27FC236}">
                <a16:creationId xmlns:a16="http://schemas.microsoft.com/office/drawing/2014/main" id="{B519703E-70DA-489E-9F3F-28740054AB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76" y="0"/>
            <a:ext cx="8726938" cy="1268413"/>
          </a:xfrm>
        </p:spPr>
        <p:txBody>
          <a:bodyPr/>
          <a:lstStyle/>
          <a:p>
            <a:r>
              <a:rPr lang="de-DE" dirty="0"/>
              <a:t>This </a:t>
            </a:r>
            <a:r>
              <a:rPr lang="de-DE" dirty="0" err="1"/>
              <a:t>Yandex</a:t>
            </a:r>
            <a:r>
              <a:rPr lang="de-DE" dirty="0"/>
              <a:t> </a:t>
            </a:r>
            <a:r>
              <a:rPr lang="de-DE" dirty="0" err="1"/>
              <a:t>site</a:t>
            </a:r>
            <a:r>
              <a:rPr lang="de-DE" dirty="0"/>
              <a:t> </a:t>
            </a:r>
            <a:r>
              <a:rPr lang="de-DE" dirty="0" err="1"/>
              <a:t>shows</a:t>
            </a:r>
            <a:br>
              <a:rPr lang="de-DE" dirty="0"/>
            </a:br>
            <a:r>
              <a:rPr lang="de-DE" dirty="0" err="1"/>
              <a:t>the</a:t>
            </a:r>
            <a:r>
              <a:rPr lang="de-DE" dirty="0"/>
              <a:t> power </a:t>
            </a:r>
            <a:r>
              <a:rPr lang="de-DE" dirty="0" err="1"/>
              <a:t>of</a:t>
            </a:r>
            <a:r>
              <a:rPr lang="de-DE" dirty="0"/>
              <a:t> web </a:t>
            </a:r>
            <a:r>
              <a:rPr lang="de-DE" dirty="0" err="1"/>
              <a:t>services</a:t>
            </a:r>
            <a:r>
              <a:rPr lang="de-DE" dirty="0"/>
              <a:t> 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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to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be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utilized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</a:t>
            </a:r>
            <a:r>
              <a:rPr lang="de-DE" dirty="0" err="1">
                <a:highlight>
                  <a:srgbClr val="FFFF00"/>
                </a:highlight>
                <a:sym typeface="Wingdings" panose="05000000000000000000" pitchFamily="2" charset="2"/>
              </a:rPr>
              <a:t>for</a:t>
            </a:r>
            <a:r>
              <a:rPr lang="de-DE" dirty="0">
                <a:highlight>
                  <a:srgbClr val="FFFF00"/>
                </a:highlight>
                <a:sym typeface="Wingdings" panose="05000000000000000000" pitchFamily="2" charset="2"/>
              </a:rPr>
              <a:t> Smart-X</a:t>
            </a:r>
            <a:r>
              <a:rPr lang="de-DE" dirty="0">
                <a:highlight>
                  <a:srgbClr val="FFFF00"/>
                </a:highlight>
              </a:rPr>
              <a:t> </a:t>
            </a:r>
            <a:br>
              <a:rPr lang="de-DE" dirty="0">
                <a:highlight>
                  <a:srgbClr val="FFFF00"/>
                </a:highlight>
              </a:rPr>
            </a:br>
            <a:endParaRPr lang="de-DE" dirty="0">
              <a:highlight>
                <a:srgbClr val="FFFF00"/>
              </a:highlight>
            </a:endParaRP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3027AF4D-39B2-447C-A3F7-95C5E419F67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" y="1645163"/>
            <a:ext cx="6646022" cy="3056046"/>
          </a:xfrm>
          <a:prstGeom prst="rect">
            <a:avLst/>
          </a:prstGeom>
        </p:spPr>
      </p:pic>
      <p:pic>
        <p:nvPicPr>
          <p:cNvPr id="5" name="Grafik 4">
            <a:extLst>
              <a:ext uri="{FF2B5EF4-FFF2-40B4-BE49-F238E27FC236}">
                <a16:creationId xmlns:a16="http://schemas.microsoft.com/office/drawing/2014/main" id="{8C3D5765-61F7-480C-A369-EF7784EDDEC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1325" y="3955774"/>
            <a:ext cx="7994109" cy="2334047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261547B3-7347-4EBD-A852-5DBA3E32EF5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923150" y="1380804"/>
            <a:ext cx="4275201" cy="5477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4023475"/>
      </p:ext>
    </p:extLst>
  </p:cSld>
  <p:clrMapOvr>
    <a:masterClrMapping/>
  </p:clrMapOvr>
  <p:transition spd="slow">
    <p:fade thruBlk="1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  <p:tag name="THINKCELLPRESENTATIONDONOTDELETE" val="&lt;?xml version=&quot;1.0&quot; encoding=&quot;UTF-16&quot; standalone=&quot;yes&quot;?&gt;&lt;root reqver=&quot;23045&quot;&gt;&lt;version val=&quot;2510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1&quot;/&gt;&lt;m_eweekdayFirstOfWeekend val=&quot;6&quot;/&gt;&lt;/CPresentation&gt;&lt;/root&gt;"/>
  <p:tag name="ARTICULATE_PROJECT_OPEN" val="0"/>
  <p:tag name="ARTICULATE_SLIDE_COUNT" val="19"/>
  <p:tag name="THINKCELLUNDODONOTDELETE" val="0"/>
  <p:tag name="EE4P_STYLE_ID" val="20857096-870a-42a2-a11e-36364d9facb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0"/>
  <p:tag name="CDT_PROT_LEFT" val="0"/>
  <p:tag name="CDT_PROT_WIDTH" val="960,5"/>
  <p:tag name="CDT_PROT_HEIGHT" val="99,8750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  <p:tag name="ARTICULATE_SLIDE_THUMBNAIL_REFRESH" val="1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heme/theme1.xml><?xml version="1.0" encoding="utf-8"?>
<a:theme xmlns:a="http://schemas.openxmlformats.org/drawingml/2006/main" name="CT_Master_16x9_EN_2017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9525">
          <a:solidFill>
            <a:schemeClr val="accent1"/>
          </a:solidFill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</a:spDef>
    <a:lnDef>
      <a:spPr bwMode="auto">
        <a:solidFill>
          <a:schemeClr val="tx2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>
          <a:spcBef>
            <a:spcPts val="0"/>
          </a:spcBef>
          <a:defRPr sz="1200" dirty="0" err="1" smtClean="0">
            <a:solidFill>
              <a:schemeClr val="tx1"/>
            </a:solidFill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48D572C0F5A4EB9D036ED3462BE5B" ma:contentTypeVersion="0" ma:contentTypeDescription="Create a new document." ma:contentTypeScope="" ma:versionID="b570352561f524454502dff545db0690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4ppTags>
  <Name>Three columns</Name>
  <PpLayout>32</PpLayout>
  <Index>14</Index>
</p4ppTags>
</file>

<file path=customXml/item3.xml><?xml version="1.0" encoding="utf-8"?>
<p4ppTags>
  <Name>Free Content</Name>
  <PpLayout>11</PpLayout>
  <Index>9</Index>
</p4ppTag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p4ppTags/>
</file>

<file path=customXml/item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CE97AFA-19C5-4425-9B8D-ED3F56006F8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5CF3461-70D1-4B54-AFAB-DAFDA0A238CD}">
  <ds:schemaRefs/>
</ds:datastoreItem>
</file>

<file path=customXml/itemProps3.xml><?xml version="1.0" encoding="utf-8"?>
<ds:datastoreItem xmlns:ds="http://schemas.openxmlformats.org/officeDocument/2006/customXml" ds:itemID="{D8097D0C-BE3E-4AEC-9593-65CFCCB19297}">
  <ds:schemaRefs/>
</ds:datastoreItem>
</file>

<file path=customXml/itemProps4.xml><?xml version="1.0" encoding="utf-8"?>
<ds:datastoreItem xmlns:ds="http://schemas.openxmlformats.org/officeDocument/2006/customXml" ds:itemID="{63BBE614-545A-4F3A-B75D-C132870A01F0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www.w3.org/XML/1998/namespace"/>
  </ds:schemaRefs>
</ds:datastoreItem>
</file>

<file path=customXml/itemProps5.xml><?xml version="1.0" encoding="utf-8"?>
<ds:datastoreItem xmlns:ds="http://schemas.openxmlformats.org/officeDocument/2006/customXml" ds:itemID="{572FBA73-6DBF-45DA-8282-9342320CFAB0}">
  <ds:schemaRefs/>
</ds:datastoreItem>
</file>

<file path=customXml/itemProps6.xml><?xml version="1.0" encoding="utf-8"?>
<ds:datastoreItem xmlns:ds="http://schemas.openxmlformats.org/officeDocument/2006/customXml" ds:itemID="{E8EEB233-8D49-4886-96CD-31BA09F6FC7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T_Master_16x9_EN_2017</Template>
  <TotalTime>0</TotalTime>
  <Words>266</Words>
  <Application>Microsoft Office PowerPoint</Application>
  <PresentationFormat>Произвольный</PresentationFormat>
  <Paragraphs>73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3" baseType="lpstr">
      <vt:lpstr>Arial</vt:lpstr>
      <vt:lpstr>Calibri</vt:lpstr>
      <vt:lpstr>Wingdings</vt:lpstr>
      <vt:lpstr>CT_Master_16x9_EN_2017</vt:lpstr>
      <vt:lpstr>think-cell Folie</vt:lpstr>
      <vt:lpstr>Standards – an enabler for holistic system design and industrial integration  Markus Reigl (Dipl.-Ing., M.A.)                         Siemens AG, Munich, Germany</vt:lpstr>
      <vt:lpstr>Smart-X [ X = City, Grid, Building, Vehicle, Factory, …] Merely connecting domain specific IoT islands …</vt:lpstr>
      <vt:lpstr>After All … Evolution will lead to Web of Things (Systems)</vt:lpstr>
      <vt:lpstr>Smart-X Universal, domain-independent standards will allow …</vt:lpstr>
      <vt:lpstr>Smart-X: Product  System  Plant … it is all about Engineering …</vt:lpstr>
      <vt:lpstr>Smart-X: Engineering remains the core value … What standards do we need to cater for 2030 needs?</vt:lpstr>
      <vt:lpstr>To enable the year 2030 engineering  need standards for the digital twin </vt:lpstr>
      <vt:lpstr>This Yandex site shows the power of web services  to be utilized for Smart-X  </vt:lpstr>
    </vt:vector>
  </TitlesOfParts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7-05-31T11:04:45Z</dcterms:created>
  <dcterms:modified xsi:type="dcterms:W3CDTF">2019-07-10T03:52:50Z</dcterms:modified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D75E8D1-C9CD-4441-B7B2-E498FD46492A</vt:lpwstr>
  </property>
  <property fmtid="{D5CDD505-2E9C-101B-9397-08002B2CF9AE}" pid="3" name="ArticulatePath">
    <vt:lpwstr>sie-ppt-2010-16x9-standard-eng-v2-0</vt:lpwstr>
  </property>
  <property fmtid="{D5CDD505-2E9C-101B-9397-08002B2CF9AE}" pid="4" name="ContentTypeId">
    <vt:lpwstr>0x010100F6A48D572C0F5A4EB9D036ED3462BE5B</vt:lpwstr>
  </property>
</Properties>
</file>